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9"/>
  </p:notesMasterIdLst>
  <p:sldIdLst>
    <p:sldId id="256" r:id="rId2"/>
    <p:sldId id="293" r:id="rId3"/>
    <p:sldId id="274" r:id="rId4"/>
    <p:sldId id="294" r:id="rId5"/>
    <p:sldId id="295" r:id="rId6"/>
    <p:sldId id="296" r:id="rId7"/>
    <p:sldId id="292" r:id="rId8"/>
  </p:sldIdLst>
  <p:sldSz cx="9906000" cy="6858000" type="A4"/>
  <p:notesSz cx="6794500" cy="9906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 preferSingleView="1">
    <p:restoredLeft sz="15618" autoAdjust="0"/>
    <p:restoredTop sz="94660" autoAdjust="0"/>
  </p:normalViewPr>
  <p:slideViewPr>
    <p:cSldViewPr showGuides="1">
      <p:cViewPr>
        <p:scale>
          <a:sx n="100" d="100"/>
          <a:sy n="100" d="100"/>
        </p:scale>
        <p:origin x="-1336" y="-176"/>
      </p:cViewPr>
      <p:guideLst>
        <p:guide orient="horz" pos="119"/>
        <p:guide orient="horz" pos="482"/>
        <p:guide orient="horz" pos="2160"/>
        <p:guide orient="horz" pos="536"/>
        <p:guide orient="horz" pos="1043"/>
        <p:guide pos="3120"/>
        <p:guide pos="126"/>
        <p:guide pos="6124"/>
        <p:guide pos="35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F6402B-DB8C-4CD0-8333-1293CA7CBFB4}" type="datetimeFigureOut">
              <a:rPr lang="de-DE" smtClean="0"/>
              <a:t>23.09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742950"/>
            <a:ext cx="536575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3DC81D-38FA-4EFB-A816-49076D4E14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59537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4.png"/><Relationship Id="rId5" Type="http://schemas.openxmlformats.org/officeDocument/2006/relationships/tags" Target="../tags/tag13.xml"/><Relationship Id="rId10" Type="http://schemas.openxmlformats.org/officeDocument/2006/relationships/image" Target="../media/image1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01786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9" imgW="341" imgH="340" progId="TCLayout.ActiveDocument.1">
                  <p:embed/>
                </p:oleObj>
              </mc:Choice>
              <mc:Fallback>
                <p:oleObj name="think-cell Slide" r:id="rId9" imgW="341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5" r="307" b="1304"/>
          <a:stretch/>
        </p:blipFill>
        <p:spPr>
          <a:xfrm>
            <a:off x="1" y="0"/>
            <a:ext cx="9921368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194337" y="1655763"/>
            <a:ext cx="9517327" cy="369332"/>
          </a:xfrm>
        </p:spPr>
        <p:txBody>
          <a:bodyPr/>
          <a:lstStyle>
            <a:lvl1pPr>
              <a:defRPr sz="24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Präsentationstitel (plus ggf. Untertitel)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94337" y="3429000"/>
            <a:ext cx="9517327" cy="456535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Anlass der Präsentation</a:t>
            </a:r>
          </a:p>
          <a:p>
            <a:r>
              <a:rPr lang="de-DE" dirty="0" smtClean="0"/>
              <a:t>Ort, Datum (Format: 01. Januar 2020)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788410" y="6657647"/>
            <a:ext cx="3136900" cy="168994"/>
          </a:xfrm>
        </p:spPr>
        <p:txBody>
          <a:bodyPr/>
          <a:lstStyle/>
          <a:p>
            <a:r>
              <a:rPr lang="de-DE" dirty="0" smtClean="0"/>
              <a:t>Entwurf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1856" y="5501640"/>
            <a:ext cx="3774350" cy="103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250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7478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5" name="think-cell Slide" r:id="rId8" imgW="341" imgH="340" progId="TCLayout.ActiveDocument.1">
                  <p:embed/>
                </p:oleObj>
              </mc:Choice>
              <mc:Fallback>
                <p:oleObj name="think-cell Slide" r:id="rId8" imgW="341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94337" y="3133988"/>
            <a:ext cx="9517327" cy="369332"/>
          </a:xfrm>
        </p:spPr>
        <p:txBody>
          <a:bodyPr/>
          <a:lstStyle>
            <a:lvl1pPr algn="ctr">
              <a:defRPr sz="24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Text Zwischenblat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194337" y="6657647"/>
            <a:ext cx="1014247" cy="168994"/>
          </a:xfrm>
        </p:spPr>
        <p:txBody>
          <a:bodyPr/>
          <a:lstStyle/>
          <a:p>
            <a:fld id="{61964795-51DC-4EE1-96DE-8701F7D63782}" type="datetime1">
              <a:rPr lang="de-DE" smtClean="0"/>
              <a:t>23.09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5788410" y="6657647"/>
            <a:ext cx="3136900" cy="168994"/>
          </a:xfrm>
        </p:spPr>
        <p:txBody>
          <a:bodyPr/>
          <a:lstStyle/>
          <a:p>
            <a:r>
              <a:rPr lang="de-DE" dirty="0" smtClean="0"/>
              <a:t>Entwur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8931442" y="6659477"/>
            <a:ext cx="773912" cy="167164"/>
          </a:xfrm>
        </p:spPr>
        <p:txBody>
          <a:bodyPr/>
          <a:lstStyle/>
          <a:p>
            <a:fld id="{4AD1E780-DE1C-4ECA-B5E5-863D0BC532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1904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kt, Titel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23.09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194338" y="765175"/>
            <a:ext cx="9517327" cy="369332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3pPr>
            <a:lvl4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 smtClean="0"/>
              <a:t>Beschreibender Titel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94337" y="1600200"/>
            <a:ext cx="9527513" cy="117981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6948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23.09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641947" y="2659558"/>
            <a:ext cx="2614177" cy="1538883"/>
          </a:xfrm>
        </p:spPr>
        <p:txBody>
          <a:bodyPr wrap="none" anchor="ctr"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600"/>
            </a:lvl4pPr>
            <a:lvl5pPr>
              <a:spcBef>
                <a:spcPts val="600"/>
              </a:spcBef>
              <a:defRPr sz="16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94338" y="765175"/>
            <a:ext cx="9517327" cy="369332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3pPr>
            <a:lvl4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 smtClean="0"/>
              <a:t>Agend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0240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F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23.09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0170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kt und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23.09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194338" y="765175"/>
            <a:ext cx="9517327" cy="369332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3pPr>
            <a:lvl4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 smtClean="0"/>
              <a:t>Beschreibender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907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23.09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890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11117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18" imgW="341" imgH="340" progId="TCLayout.ActiveDocument.1">
                  <p:embed/>
                </p:oleObj>
              </mc:Choice>
              <mc:Fallback>
                <p:oleObj name="think-cell Slide" r:id="rId18" imgW="341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80"/>
          <a:stretch/>
        </p:blipFill>
        <p:spPr>
          <a:xfrm>
            <a:off x="0" y="0"/>
            <a:ext cx="9916766" cy="685800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94337" y="143193"/>
            <a:ext cx="7494967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 smtClean="0"/>
              <a:t>Fakt ist X. Y muss getan werd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194337" y="1600200"/>
            <a:ext cx="9386459" cy="11798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4"/>
            </p:custDataLst>
          </p:nvPr>
        </p:nvSpPr>
        <p:spPr>
          <a:xfrm>
            <a:off x="194337" y="6657647"/>
            <a:ext cx="1014247" cy="168994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4E8803-761A-423F-920A-7DEB27B16F30}" type="datetime1">
              <a:rPr lang="de-DE" smtClean="0"/>
              <a:pPr/>
              <a:t>23.09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5"/>
            </p:custDataLst>
          </p:nvPr>
        </p:nvSpPr>
        <p:spPr>
          <a:xfrm>
            <a:off x="5788410" y="6657647"/>
            <a:ext cx="3136900" cy="168994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Entwur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6"/>
            </p:custDataLst>
          </p:nvPr>
        </p:nvSpPr>
        <p:spPr>
          <a:xfrm>
            <a:off x="8931442" y="6659477"/>
            <a:ext cx="773912" cy="167164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7890" y="114300"/>
            <a:ext cx="1311580" cy="35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257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0" r:id="rId3"/>
    <p:sldLayoutId id="2147483661" r:id="rId4"/>
    <p:sldLayoutId id="2147483662" r:id="rId5"/>
    <p:sldLayoutId id="2147483663" r:id="rId6"/>
    <p:sldLayoutId id="21474836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2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buClr>
          <a:schemeClr val="tx2"/>
        </a:buClr>
        <a:buFont typeface="Wingdings" pitchFamily="2" charset="2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4625" algn="l" defTabSz="914400" rtl="0" eaLnBrk="1" latinLnBrk="0" hangingPunct="1">
        <a:spcBef>
          <a:spcPts val="2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82563" algn="l" defTabSz="914400" rtl="0" eaLnBrk="1" latinLnBrk="0" hangingPunct="1">
        <a:spcBef>
          <a:spcPts val="200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spcBef>
          <a:spcPts val="200"/>
        </a:spcBef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.xml"/><Relationship Id="rId7" Type="http://schemas.openxmlformats.org/officeDocument/2006/relationships/oleObject" Target="../embeddings/oleObject4.bin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002169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think-cell Slide" r:id="rId7" imgW="341" imgH="340" progId="TCLayout.ActiveDocument.1">
                  <p:embed/>
                </p:oleObj>
              </mc:Choice>
              <mc:Fallback>
                <p:oleObj name="think-cell Slide" r:id="rId7" imgW="341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PDL Servicearchitektur im Umfeld Forschungsda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94337" y="3429000"/>
            <a:ext cx="9517327" cy="215444"/>
          </a:xfrm>
        </p:spPr>
        <p:txBody>
          <a:bodyPr/>
          <a:lstStyle/>
          <a:p>
            <a:r>
              <a:rPr lang="de-DE" dirty="0" smtClean="0"/>
              <a:t>Workshop18. September 2015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4294967295"/>
            <p:custDataLst>
              <p:tags r:id="rId3"/>
            </p:custDataLst>
          </p:nvPr>
        </p:nvSpPr>
        <p:spPr>
          <a:xfrm>
            <a:off x="194337" y="6657647"/>
            <a:ext cx="1014247" cy="168994"/>
          </a:xfrm>
        </p:spPr>
        <p:txBody>
          <a:bodyPr/>
          <a:lstStyle/>
          <a:p>
            <a:fld id="{5A2A6BDC-0F70-4EA1-87CE-04FF2240584C}" type="datetime1">
              <a:rPr lang="de-DE" smtClean="0"/>
              <a:pPr/>
              <a:t>23.09.2015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 smtClean="0"/>
              <a:t>Template Entwurf (Fußnotenmuster)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294967295"/>
            <p:custDataLst>
              <p:tags r:id="rId5"/>
            </p:custDataLst>
          </p:nvPr>
        </p:nvSpPr>
        <p:spPr>
          <a:xfrm>
            <a:off x="8931442" y="6659477"/>
            <a:ext cx="773912" cy="167164"/>
          </a:xfrm>
        </p:spPr>
        <p:txBody>
          <a:bodyPr/>
          <a:lstStyle/>
          <a:p>
            <a:fld id="{4AD1E780-DE1C-4ECA-B5E5-863D0BC53287}" type="slidenum">
              <a:rPr lang="de-DE" smtClean="0"/>
              <a:pPr/>
              <a:t>0</a:t>
            </a:fld>
            <a:endParaRPr lang="de-DE"/>
          </a:p>
        </p:txBody>
      </p:sp>
      <p:sp>
        <p:nvSpPr>
          <p:cNvPr id="12" name="Untertitel 2"/>
          <p:cNvSpPr txBox="1">
            <a:spLocks/>
          </p:cNvSpPr>
          <p:nvPr/>
        </p:nvSpPr>
        <p:spPr>
          <a:xfrm>
            <a:off x="194337" y="5254749"/>
            <a:ext cx="1210011" cy="456535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 smtClean="0"/>
          </a:p>
          <a:p>
            <a:r>
              <a:rPr lang="de-DE" dirty="0" smtClean="0"/>
              <a:t>MPDL INTER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203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23.09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94338" y="765175"/>
            <a:ext cx="9517327" cy="369332"/>
          </a:xfrm>
        </p:spPr>
        <p:txBody>
          <a:bodyPr/>
          <a:lstStyle/>
          <a:p>
            <a:r>
              <a:rPr lang="de-DE" dirty="0" smtClean="0"/>
              <a:t>Diskussion MPDL Servicearchitektur im Umfeld Forschungsdaten</a:t>
            </a:r>
            <a:endParaRPr lang="de-DE" dirty="0"/>
          </a:p>
        </p:txBody>
      </p:sp>
      <p:sp>
        <p:nvSpPr>
          <p:cNvPr id="33" name="Inhaltsplatzhalter 2"/>
          <p:cNvSpPr txBox="1">
            <a:spLocks/>
          </p:cNvSpPr>
          <p:nvPr/>
        </p:nvSpPr>
        <p:spPr>
          <a:xfrm>
            <a:off x="194337" y="2780928"/>
            <a:ext cx="743793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dirty="0" smtClean="0"/>
              <a:t>Zeitbedarf</a:t>
            </a:r>
            <a:endParaRPr lang="de-DE" sz="1200" b="1" dirty="0"/>
          </a:p>
        </p:txBody>
      </p:sp>
      <p:sp>
        <p:nvSpPr>
          <p:cNvPr id="27" name="Richtungspfeil 26"/>
          <p:cNvSpPr/>
          <p:nvPr/>
        </p:nvSpPr>
        <p:spPr>
          <a:xfrm>
            <a:off x="1119694" y="1655365"/>
            <a:ext cx="2203404" cy="937758"/>
          </a:xfrm>
          <a:custGeom>
            <a:avLst/>
            <a:gdLst>
              <a:gd name="connsiteX0" fmla="*/ 0 w 2200115"/>
              <a:gd name="connsiteY0" fmla="*/ 0 h 936104"/>
              <a:gd name="connsiteX1" fmla="*/ 2069688 w 2200115"/>
              <a:gd name="connsiteY1" fmla="*/ 0 h 936104"/>
              <a:gd name="connsiteX2" fmla="*/ 2200115 w 2200115"/>
              <a:gd name="connsiteY2" fmla="*/ 468052 h 936104"/>
              <a:gd name="connsiteX3" fmla="*/ 2069688 w 2200115"/>
              <a:gd name="connsiteY3" fmla="*/ 936104 h 936104"/>
              <a:gd name="connsiteX4" fmla="*/ 0 w 2200115"/>
              <a:gd name="connsiteY4" fmla="*/ 936104 h 936104"/>
              <a:gd name="connsiteX5" fmla="*/ 0 w 2200115"/>
              <a:gd name="connsiteY5" fmla="*/ 0 h 936104"/>
              <a:gd name="connsiteX0" fmla="*/ 0 w 2200115"/>
              <a:gd name="connsiteY0" fmla="*/ 0 h 936104"/>
              <a:gd name="connsiteX1" fmla="*/ 2069688 w 2200115"/>
              <a:gd name="connsiteY1" fmla="*/ 0 h 936104"/>
              <a:gd name="connsiteX2" fmla="*/ 2200115 w 2200115"/>
              <a:gd name="connsiteY2" fmla="*/ 468052 h 936104"/>
              <a:gd name="connsiteX3" fmla="*/ 2069688 w 2200115"/>
              <a:gd name="connsiteY3" fmla="*/ 936104 h 936104"/>
              <a:gd name="connsiteX4" fmla="*/ 0 w 2200115"/>
              <a:gd name="connsiteY4" fmla="*/ 936104 h 936104"/>
              <a:gd name="connsiteX5" fmla="*/ 0 w 2200115"/>
              <a:gd name="connsiteY5" fmla="*/ 0 h 936104"/>
              <a:gd name="connsiteX0" fmla="*/ 0 w 2200115"/>
              <a:gd name="connsiteY0" fmla="*/ 0 h 936104"/>
              <a:gd name="connsiteX1" fmla="*/ 2069688 w 2200115"/>
              <a:gd name="connsiteY1" fmla="*/ 0 h 936104"/>
              <a:gd name="connsiteX2" fmla="*/ 2200115 w 2200115"/>
              <a:gd name="connsiteY2" fmla="*/ 468052 h 936104"/>
              <a:gd name="connsiteX3" fmla="*/ 2069688 w 2200115"/>
              <a:gd name="connsiteY3" fmla="*/ 936104 h 936104"/>
              <a:gd name="connsiteX4" fmla="*/ 0 w 2200115"/>
              <a:gd name="connsiteY4" fmla="*/ 936104 h 936104"/>
              <a:gd name="connsiteX5" fmla="*/ 0 w 2200115"/>
              <a:gd name="connsiteY5" fmla="*/ 0 h 936104"/>
              <a:gd name="connsiteX0" fmla="*/ 0 w 2200115"/>
              <a:gd name="connsiteY0" fmla="*/ 0 h 936104"/>
              <a:gd name="connsiteX1" fmla="*/ 2069688 w 2200115"/>
              <a:gd name="connsiteY1" fmla="*/ 0 h 936104"/>
              <a:gd name="connsiteX2" fmla="*/ 2200115 w 2200115"/>
              <a:gd name="connsiteY2" fmla="*/ 468052 h 936104"/>
              <a:gd name="connsiteX3" fmla="*/ 2069688 w 2200115"/>
              <a:gd name="connsiteY3" fmla="*/ 936104 h 936104"/>
              <a:gd name="connsiteX4" fmla="*/ 801068 w 2200115"/>
              <a:gd name="connsiteY4" fmla="*/ 935037 h 936104"/>
              <a:gd name="connsiteX5" fmla="*/ 0 w 2200115"/>
              <a:gd name="connsiteY5" fmla="*/ 936104 h 936104"/>
              <a:gd name="connsiteX6" fmla="*/ 0 w 2200115"/>
              <a:gd name="connsiteY6" fmla="*/ 0 h 936104"/>
              <a:gd name="connsiteX0" fmla="*/ 0 w 2200115"/>
              <a:gd name="connsiteY0" fmla="*/ 0 h 937758"/>
              <a:gd name="connsiteX1" fmla="*/ 2069688 w 2200115"/>
              <a:gd name="connsiteY1" fmla="*/ 0 h 937758"/>
              <a:gd name="connsiteX2" fmla="*/ 2200115 w 2200115"/>
              <a:gd name="connsiteY2" fmla="*/ 468052 h 937758"/>
              <a:gd name="connsiteX3" fmla="*/ 2069688 w 2200115"/>
              <a:gd name="connsiteY3" fmla="*/ 936104 h 937758"/>
              <a:gd name="connsiteX4" fmla="*/ 22739 w 2200115"/>
              <a:gd name="connsiteY4" fmla="*/ 937758 h 937758"/>
              <a:gd name="connsiteX5" fmla="*/ 0 w 2200115"/>
              <a:gd name="connsiteY5" fmla="*/ 936104 h 937758"/>
              <a:gd name="connsiteX6" fmla="*/ 0 w 2200115"/>
              <a:gd name="connsiteY6" fmla="*/ 0 h 937758"/>
              <a:gd name="connsiteX0" fmla="*/ 1753 w 2201868"/>
              <a:gd name="connsiteY0" fmla="*/ 0 h 937758"/>
              <a:gd name="connsiteX1" fmla="*/ 2071441 w 2201868"/>
              <a:gd name="connsiteY1" fmla="*/ 0 h 937758"/>
              <a:gd name="connsiteX2" fmla="*/ 2201868 w 2201868"/>
              <a:gd name="connsiteY2" fmla="*/ 468052 h 937758"/>
              <a:gd name="connsiteX3" fmla="*/ 2071441 w 2201868"/>
              <a:gd name="connsiteY3" fmla="*/ 936104 h 937758"/>
              <a:gd name="connsiteX4" fmla="*/ 24492 w 2201868"/>
              <a:gd name="connsiteY4" fmla="*/ 937758 h 937758"/>
              <a:gd name="connsiteX5" fmla="*/ 1753 w 2201868"/>
              <a:gd name="connsiteY5" fmla="*/ 936104 h 937758"/>
              <a:gd name="connsiteX6" fmla="*/ 0 w 2201868"/>
              <a:gd name="connsiteY6" fmla="*/ 905101 h 937758"/>
              <a:gd name="connsiteX7" fmla="*/ 1753 w 2201868"/>
              <a:gd name="connsiteY7" fmla="*/ 0 h 937758"/>
              <a:gd name="connsiteX0" fmla="*/ 1753 w 2201868"/>
              <a:gd name="connsiteY0" fmla="*/ 0 h 937758"/>
              <a:gd name="connsiteX1" fmla="*/ 2071441 w 2201868"/>
              <a:gd name="connsiteY1" fmla="*/ 0 h 937758"/>
              <a:gd name="connsiteX2" fmla="*/ 2201868 w 2201868"/>
              <a:gd name="connsiteY2" fmla="*/ 468052 h 937758"/>
              <a:gd name="connsiteX3" fmla="*/ 2071441 w 2201868"/>
              <a:gd name="connsiteY3" fmla="*/ 936104 h 937758"/>
              <a:gd name="connsiteX4" fmla="*/ 24492 w 2201868"/>
              <a:gd name="connsiteY4" fmla="*/ 937758 h 937758"/>
              <a:gd name="connsiteX5" fmla="*/ 1753 w 2201868"/>
              <a:gd name="connsiteY5" fmla="*/ 936104 h 937758"/>
              <a:gd name="connsiteX6" fmla="*/ 0 w 2201868"/>
              <a:gd name="connsiteY6" fmla="*/ 924151 h 937758"/>
              <a:gd name="connsiteX7" fmla="*/ 1753 w 2201868"/>
              <a:gd name="connsiteY7" fmla="*/ 0 h 937758"/>
              <a:gd name="connsiteX0" fmla="*/ 1753 w 2201868"/>
              <a:gd name="connsiteY0" fmla="*/ 0 h 936104"/>
              <a:gd name="connsiteX1" fmla="*/ 2071441 w 2201868"/>
              <a:gd name="connsiteY1" fmla="*/ 0 h 936104"/>
              <a:gd name="connsiteX2" fmla="*/ 2201868 w 2201868"/>
              <a:gd name="connsiteY2" fmla="*/ 468052 h 936104"/>
              <a:gd name="connsiteX3" fmla="*/ 2071441 w 2201868"/>
              <a:gd name="connsiteY3" fmla="*/ 936104 h 936104"/>
              <a:gd name="connsiteX4" fmla="*/ 13606 w 2201868"/>
              <a:gd name="connsiteY4" fmla="*/ 935037 h 936104"/>
              <a:gd name="connsiteX5" fmla="*/ 1753 w 2201868"/>
              <a:gd name="connsiteY5" fmla="*/ 936104 h 936104"/>
              <a:gd name="connsiteX6" fmla="*/ 0 w 2201868"/>
              <a:gd name="connsiteY6" fmla="*/ 924151 h 936104"/>
              <a:gd name="connsiteX7" fmla="*/ 1753 w 2201868"/>
              <a:gd name="connsiteY7" fmla="*/ 0 h 936104"/>
              <a:gd name="connsiteX0" fmla="*/ 1753 w 2201868"/>
              <a:gd name="connsiteY0" fmla="*/ 0 h 936104"/>
              <a:gd name="connsiteX1" fmla="*/ 2071441 w 2201868"/>
              <a:gd name="connsiteY1" fmla="*/ 0 h 936104"/>
              <a:gd name="connsiteX2" fmla="*/ 2201868 w 2201868"/>
              <a:gd name="connsiteY2" fmla="*/ 468052 h 936104"/>
              <a:gd name="connsiteX3" fmla="*/ 2071441 w 2201868"/>
              <a:gd name="connsiteY3" fmla="*/ 936104 h 936104"/>
              <a:gd name="connsiteX4" fmla="*/ 13606 w 2201868"/>
              <a:gd name="connsiteY4" fmla="*/ 935037 h 936104"/>
              <a:gd name="connsiteX5" fmla="*/ 0 w 2201868"/>
              <a:gd name="connsiteY5" fmla="*/ 924151 h 936104"/>
              <a:gd name="connsiteX6" fmla="*/ 1753 w 2201868"/>
              <a:gd name="connsiteY6" fmla="*/ 0 h 936104"/>
              <a:gd name="connsiteX0" fmla="*/ 153830 w 2353945"/>
              <a:gd name="connsiteY0" fmla="*/ 54772 h 990876"/>
              <a:gd name="connsiteX1" fmla="*/ 2223518 w 2353945"/>
              <a:gd name="connsiteY1" fmla="*/ 54772 h 990876"/>
              <a:gd name="connsiteX2" fmla="*/ 2353945 w 2353945"/>
              <a:gd name="connsiteY2" fmla="*/ 522824 h 990876"/>
              <a:gd name="connsiteX3" fmla="*/ 2223518 w 2353945"/>
              <a:gd name="connsiteY3" fmla="*/ 990876 h 990876"/>
              <a:gd name="connsiteX4" fmla="*/ 165683 w 2353945"/>
              <a:gd name="connsiteY4" fmla="*/ 989809 h 990876"/>
              <a:gd name="connsiteX5" fmla="*/ 152077 w 2353945"/>
              <a:gd name="connsiteY5" fmla="*/ 978923 h 990876"/>
              <a:gd name="connsiteX6" fmla="*/ 152077 w 2353945"/>
              <a:gd name="connsiteY6" fmla="*/ 72688 h 990876"/>
              <a:gd name="connsiteX7" fmla="*/ 153830 w 2353945"/>
              <a:gd name="connsiteY7" fmla="*/ 54772 h 990876"/>
              <a:gd name="connsiteX0" fmla="*/ 153830 w 2353945"/>
              <a:gd name="connsiteY0" fmla="*/ 54772 h 990876"/>
              <a:gd name="connsiteX1" fmla="*/ 201063 w 2353945"/>
              <a:gd name="connsiteY1" fmla="*/ 53638 h 990876"/>
              <a:gd name="connsiteX2" fmla="*/ 2223518 w 2353945"/>
              <a:gd name="connsiteY2" fmla="*/ 54772 h 990876"/>
              <a:gd name="connsiteX3" fmla="*/ 2353945 w 2353945"/>
              <a:gd name="connsiteY3" fmla="*/ 522824 h 990876"/>
              <a:gd name="connsiteX4" fmla="*/ 2223518 w 2353945"/>
              <a:gd name="connsiteY4" fmla="*/ 990876 h 990876"/>
              <a:gd name="connsiteX5" fmla="*/ 165683 w 2353945"/>
              <a:gd name="connsiteY5" fmla="*/ 989809 h 990876"/>
              <a:gd name="connsiteX6" fmla="*/ 152077 w 2353945"/>
              <a:gd name="connsiteY6" fmla="*/ 978923 h 990876"/>
              <a:gd name="connsiteX7" fmla="*/ 152077 w 2353945"/>
              <a:gd name="connsiteY7" fmla="*/ 72688 h 990876"/>
              <a:gd name="connsiteX8" fmla="*/ 153830 w 2353945"/>
              <a:gd name="connsiteY8" fmla="*/ 54772 h 990876"/>
              <a:gd name="connsiteX0" fmla="*/ 153830 w 2353945"/>
              <a:gd name="connsiteY0" fmla="*/ 54772 h 990876"/>
              <a:gd name="connsiteX1" fmla="*/ 241884 w 2353945"/>
              <a:gd name="connsiteY1" fmla="*/ 127117 h 990876"/>
              <a:gd name="connsiteX2" fmla="*/ 2223518 w 2353945"/>
              <a:gd name="connsiteY2" fmla="*/ 54772 h 990876"/>
              <a:gd name="connsiteX3" fmla="*/ 2353945 w 2353945"/>
              <a:gd name="connsiteY3" fmla="*/ 522824 h 990876"/>
              <a:gd name="connsiteX4" fmla="*/ 2223518 w 2353945"/>
              <a:gd name="connsiteY4" fmla="*/ 990876 h 990876"/>
              <a:gd name="connsiteX5" fmla="*/ 165683 w 2353945"/>
              <a:gd name="connsiteY5" fmla="*/ 989809 h 990876"/>
              <a:gd name="connsiteX6" fmla="*/ 152077 w 2353945"/>
              <a:gd name="connsiteY6" fmla="*/ 978923 h 990876"/>
              <a:gd name="connsiteX7" fmla="*/ 152077 w 2353945"/>
              <a:gd name="connsiteY7" fmla="*/ 72688 h 990876"/>
              <a:gd name="connsiteX8" fmla="*/ 153830 w 2353945"/>
              <a:gd name="connsiteY8" fmla="*/ 54772 h 990876"/>
              <a:gd name="connsiteX0" fmla="*/ 153830 w 2353945"/>
              <a:gd name="connsiteY0" fmla="*/ 54772 h 990876"/>
              <a:gd name="connsiteX1" fmla="*/ 162962 w 2353945"/>
              <a:gd name="connsiteY1" fmla="*/ 56360 h 990876"/>
              <a:gd name="connsiteX2" fmla="*/ 2223518 w 2353945"/>
              <a:gd name="connsiteY2" fmla="*/ 54772 h 990876"/>
              <a:gd name="connsiteX3" fmla="*/ 2353945 w 2353945"/>
              <a:gd name="connsiteY3" fmla="*/ 522824 h 990876"/>
              <a:gd name="connsiteX4" fmla="*/ 2223518 w 2353945"/>
              <a:gd name="connsiteY4" fmla="*/ 990876 h 990876"/>
              <a:gd name="connsiteX5" fmla="*/ 165683 w 2353945"/>
              <a:gd name="connsiteY5" fmla="*/ 989809 h 990876"/>
              <a:gd name="connsiteX6" fmla="*/ 152077 w 2353945"/>
              <a:gd name="connsiteY6" fmla="*/ 978923 h 990876"/>
              <a:gd name="connsiteX7" fmla="*/ 152077 w 2353945"/>
              <a:gd name="connsiteY7" fmla="*/ 72688 h 990876"/>
              <a:gd name="connsiteX8" fmla="*/ 153830 w 2353945"/>
              <a:gd name="connsiteY8" fmla="*/ 54772 h 990876"/>
              <a:gd name="connsiteX0" fmla="*/ 153830 w 2353945"/>
              <a:gd name="connsiteY0" fmla="*/ 58657 h 994761"/>
              <a:gd name="connsiteX1" fmla="*/ 162962 w 2353945"/>
              <a:gd name="connsiteY1" fmla="*/ 60245 h 994761"/>
              <a:gd name="connsiteX2" fmla="*/ 2223518 w 2353945"/>
              <a:gd name="connsiteY2" fmla="*/ 58657 h 994761"/>
              <a:gd name="connsiteX3" fmla="*/ 2353945 w 2353945"/>
              <a:gd name="connsiteY3" fmla="*/ 526709 h 994761"/>
              <a:gd name="connsiteX4" fmla="*/ 2223518 w 2353945"/>
              <a:gd name="connsiteY4" fmla="*/ 994761 h 994761"/>
              <a:gd name="connsiteX5" fmla="*/ 165683 w 2353945"/>
              <a:gd name="connsiteY5" fmla="*/ 993694 h 994761"/>
              <a:gd name="connsiteX6" fmla="*/ 152077 w 2353945"/>
              <a:gd name="connsiteY6" fmla="*/ 982808 h 994761"/>
              <a:gd name="connsiteX7" fmla="*/ 152077 w 2353945"/>
              <a:gd name="connsiteY7" fmla="*/ 71130 h 994761"/>
              <a:gd name="connsiteX8" fmla="*/ 153830 w 2353945"/>
              <a:gd name="connsiteY8" fmla="*/ 58657 h 994761"/>
              <a:gd name="connsiteX0" fmla="*/ 145014 w 2346882"/>
              <a:gd name="connsiteY0" fmla="*/ 70785 h 994416"/>
              <a:gd name="connsiteX1" fmla="*/ 155899 w 2346882"/>
              <a:gd name="connsiteY1" fmla="*/ 59900 h 994416"/>
              <a:gd name="connsiteX2" fmla="*/ 2216455 w 2346882"/>
              <a:gd name="connsiteY2" fmla="*/ 58312 h 994416"/>
              <a:gd name="connsiteX3" fmla="*/ 2346882 w 2346882"/>
              <a:gd name="connsiteY3" fmla="*/ 526364 h 994416"/>
              <a:gd name="connsiteX4" fmla="*/ 2216455 w 2346882"/>
              <a:gd name="connsiteY4" fmla="*/ 994416 h 994416"/>
              <a:gd name="connsiteX5" fmla="*/ 158620 w 2346882"/>
              <a:gd name="connsiteY5" fmla="*/ 993349 h 994416"/>
              <a:gd name="connsiteX6" fmla="*/ 145014 w 2346882"/>
              <a:gd name="connsiteY6" fmla="*/ 982463 h 994416"/>
              <a:gd name="connsiteX7" fmla="*/ 145014 w 2346882"/>
              <a:gd name="connsiteY7" fmla="*/ 70785 h 994416"/>
              <a:gd name="connsiteX0" fmla="*/ 143165 w 2345033"/>
              <a:gd name="connsiteY0" fmla="*/ 12473 h 936104"/>
              <a:gd name="connsiteX1" fmla="*/ 154050 w 2345033"/>
              <a:gd name="connsiteY1" fmla="*/ 1588 h 936104"/>
              <a:gd name="connsiteX2" fmla="*/ 2214606 w 2345033"/>
              <a:gd name="connsiteY2" fmla="*/ 0 h 936104"/>
              <a:gd name="connsiteX3" fmla="*/ 2345033 w 2345033"/>
              <a:gd name="connsiteY3" fmla="*/ 468052 h 936104"/>
              <a:gd name="connsiteX4" fmla="*/ 2214606 w 2345033"/>
              <a:gd name="connsiteY4" fmla="*/ 936104 h 936104"/>
              <a:gd name="connsiteX5" fmla="*/ 156771 w 2345033"/>
              <a:gd name="connsiteY5" fmla="*/ 935037 h 936104"/>
              <a:gd name="connsiteX6" fmla="*/ 143165 w 2345033"/>
              <a:gd name="connsiteY6" fmla="*/ 924151 h 936104"/>
              <a:gd name="connsiteX7" fmla="*/ 143165 w 2345033"/>
              <a:gd name="connsiteY7" fmla="*/ 12473 h 936104"/>
              <a:gd name="connsiteX0" fmla="*/ 1536 w 2203404"/>
              <a:gd name="connsiteY0" fmla="*/ 12473 h 936104"/>
              <a:gd name="connsiteX1" fmla="*/ 12421 w 2203404"/>
              <a:gd name="connsiteY1" fmla="*/ 1588 h 936104"/>
              <a:gd name="connsiteX2" fmla="*/ 2072977 w 2203404"/>
              <a:gd name="connsiteY2" fmla="*/ 0 h 936104"/>
              <a:gd name="connsiteX3" fmla="*/ 2203404 w 2203404"/>
              <a:gd name="connsiteY3" fmla="*/ 468052 h 936104"/>
              <a:gd name="connsiteX4" fmla="*/ 2072977 w 2203404"/>
              <a:gd name="connsiteY4" fmla="*/ 936104 h 936104"/>
              <a:gd name="connsiteX5" fmla="*/ 15142 w 2203404"/>
              <a:gd name="connsiteY5" fmla="*/ 935037 h 936104"/>
              <a:gd name="connsiteX6" fmla="*/ 1536 w 2203404"/>
              <a:gd name="connsiteY6" fmla="*/ 924151 h 936104"/>
              <a:gd name="connsiteX7" fmla="*/ 1536 w 2203404"/>
              <a:gd name="connsiteY7" fmla="*/ 12473 h 936104"/>
              <a:gd name="connsiteX0" fmla="*/ 1536 w 2203404"/>
              <a:gd name="connsiteY0" fmla="*/ 12473 h 936104"/>
              <a:gd name="connsiteX1" fmla="*/ 12421 w 2203404"/>
              <a:gd name="connsiteY1" fmla="*/ 1588 h 936104"/>
              <a:gd name="connsiteX2" fmla="*/ 2072977 w 2203404"/>
              <a:gd name="connsiteY2" fmla="*/ 0 h 936104"/>
              <a:gd name="connsiteX3" fmla="*/ 2203404 w 2203404"/>
              <a:gd name="connsiteY3" fmla="*/ 468052 h 936104"/>
              <a:gd name="connsiteX4" fmla="*/ 2072977 w 2203404"/>
              <a:gd name="connsiteY4" fmla="*/ 936104 h 936104"/>
              <a:gd name="connsiteX5" fmla="*/ 4256 w 2203404"/>
              <a:gd name="connsiteY5" fmla="*/ 932316 h 936104"/>
              <a:gd name="connsiteX6" fmla="*/ 1536 w 2203404"/>
              <a:gd name="connsiteY6" fmla="*/ 924151 h 936104"/>
              <a:gd name="connsiteX7" fmla="*/ 1536 w 2203404"/>
              <a:gd name="connsiteY7" fmla="*/ 12473 h 936104"/>
              <a:gd name="connsiteX0" fmla="*/ 1536 w 2203404"/>
              <a:gd name="connsiteY0" fmla="*/ 12473 h 936104"/>
              <a:gd name="connsiteX1" fmla="*/ 12421 w 2203404"/>
              <a:gd name="connsiteY1" fmla="*/ 1588 h 936104"/>
              <a:gd name="connsiteX2" fmla="*/ 2072977 w 2203404"/>
              <a:gd name="connsiteY2" fmla="*/ 0 h 936104"/>
              <a:gd name="connsiteX3" fmla="*/ 2203404 w 2203404"/>
              <a:gd name="connsiteY3" fmla="*/ 468052 h 936104"/>
              <a:gd name="connsiteX4" fmla="*/ 2072977 w 2203404"/>
              <a:gd name="connsiteY4" fmla="*/ 936104 h 936104"/>
              <a:gd name="connsiteX5" fmla="*/ 4256 w 2203404"/>
              <a:gd name="connsiteY5" fmla="*/ 935037 h 936104"/>
              <a:gd name="connsiteX6" fmla="*/ 1536 w 2203404"/>
              <a:gd name="connsiteY6" fmla="*/ 924151 h 936104"/>
              <a:gd name="connsiteX7" fmla="*/ 1536 w 2203404"/>
              <a:gd name="connsiteY7" fmla="*/ 12473 h 936104"/>
              <a:gd name="connsiteX0" fmla="*/ 1536 w 2203404"/>
              <a:gd name="connsiteY0" fmla="*/ 12473 h 936104"/>
              <a:gd name="connsiteX1" fmla="*/ 12421 w 2203404"/>
              <a:gd name="connsiteY1" fmla="*/ 1588 h 936104"/>
              <a:gd name="connsiteX2" fmla="*/ 2072977 w 2203404"/>
              <a:gd name="connsiteY2" fmla="*/ 0 h 936104"/>
              <a:gd name="connsiteX3" fmla="*/ 2203404 w 2203404"/>
              <a:gd name="connsiteY3" fmla="*/ 468052 h 936104"/>
              <a:gd name="connsiteX4" fmla="*/ 2072977 w 2203404"/>
              <a:gd name="connsiteY4" fmla="*/ 936104 h 936104"/>
              <a:gd name="connsiteX5" fmla="*/ 4256 w 2203404"/>
              <a:gd name="connsiteY5" fmla="*/ 935037 h 936104"/>
              <a:gd name="connsiteX6" fmla="*/ 1536 w 2203404"/>
              <a:gd name="connsiteY6" fmla="*/ 929594 h 936104"/>
              <a:gd name="connsiteX7" fmla="*/ 1536 w 2203404"/>
              <a:gd name="connsiteY7" fmla="*/ 12473 h 936104"/>
              <a:gd name="connsiteX0" fmla="*/ 1536 w 2203404"/>
              <a:gd name="connsiteY0" fmla="*/ 12473 h 936104"/>
              <a:gd name="connsiteX1" fmla="*/ 12421 w 2203404"/>
              <a:gd name="connsiteY1" fmla="*/ 1588 h 936104"/>
              <a:gd name="connsiteX2" fmla="*/ 2072977 w 2203404"/>
              <a:gd name="connsiteY2" fmla="*/ 0 h 936104"/>
              <a:gd name="connsiteX3" fmla="*/ 2203404 w 2203404"/>
              <a:gd name="connsiteY3" fmla="*/ 468052 h 936104"/>
              <a:gd name="connsiteX4" fmla="*/ 2072977 w 2203404"/>
              <a:gd name="connsiteY4" fmla="*/ 936104 h 936104"/>
              <a:gd name="connsiteX5" fmla="*/ 47799 w 2203404"/>
              <a:gd name="connsiteY5" fmla="*/ 935037 h 936104"/>
              <a:gd name="connsiteX6" fmla="*/ 1536 w 2203404"/>
              <a:gd name="connsiteY6" fmla="*/ 929594 h 936104"/>
              <a:gd name="connsiteX7" fmla="*/ 1536 w 2203404"/>
              <a:gd name="connsiteY7" fmla="*/ 12473 h 936104"/>
              <a:gd name="connsiteX0" fmla="*/ 1536 w 2203404"/>
              <a:gd name="connsiteY0" fmla="*/ 12473 h 936104"/>
              <a:gd name="connsiteX1" fmla="*/ 12421 w 2203404"/>
              <a:gd name="connsiteY1" fmla="*/ 1588 h 936104"/>
              <a:gd name="connsiteX2" fmla="*/ 2072977 w 2203404"/>
              <a:gd name="connsiteY2" fmla="*/ 0 h 936104"/>
              <a:gd name="connsiteX3" fmla="*/ 2203404 w 2203404"/>
              <a:gd name="connsiteY3" fmla="*/ 468052 h 936104"/>
              <a:gd name="connsiteX4" fmla="*/ 2072977 w 2203404"/>
              <a:gd name="connsiteY4" fmla="*/ 936104 h 936104"/>
              <a:gd name="connsiteX5" fmla="*/ 9699 w 2203404"/>
              <a:gd name="connsiteY5" fmla="*/ 935037 h 936104"/>
              <a:gd name="connsiteX6" fmla="*/ 1536 w 2203404"/>
              <a:gd name="connsiteY6" fmla="*/ 929594 h 936104"/>
              <a:gd name="connsiteX7" fmla="*/ 1536 w 2203404"/>
              <a:gd name="connsiteY7" fmla="*/ 12473 h 936104"/>
              <a:gd name="connsiteX0" fmla="*/ 1536 w 2203404"/>
              <a:gd name="connsiteY0" fmla="*/ 9751 h 936104"/>
              <a:gd name="connsiteX1" fmla="*/ 12421 w 2203404"/>
              <a:gd name="connsiteY1" fmla="*/ 1588 h 936104"/>
              <a:gd name="connsiteX2" fmla="*/ 2072977 w 2203404"/>
              <a:gd name="connsiteY2" fmla="*/ 0 h 936104"/>
              <a:gd name="connsiteX3" fmla="*/ 2203404 w 2203404"/>
              <a:gd name="connsiteY3" fmla="*/ 468052 h 936104"/>
              <a:gd name="connsiteX4" fmla="*/ 2072977 w 2203404"/>
              <a:gd name="connsiteY4" fmla="*/ 936104 h 936104"/>
              <a:gd name="connsiteX5" fmla="*/ 9699 w 2203404"/>
              <a:gd name="connsiteY5" fmla="*/ 935037 h 936104"/>
              <a:gd name="connsiteX6" fmla="*/ 1536 w 2203404"/>
              <a:gd name="connsiteY6" fmla="*/ 929594 h 936104"/>
              <a:gd name="connsiteX7" fmla="*/ 1536 w 2203404"/>
              <a:gd name="connsiteY7" fmla="*/ 9751 h 936104"/>
              <a:gd name="connsiteX0" fmla="*/ 1536 w 2203404"/>
              <a:gd name="connsiteY0" fmla="*/ 9751 h 936104"/>
              <a:gd name="connsiteX1" fmla="*/ 12421 w 2203404"/>
              <a:gd name="connsiteY1" fmla="*/ 1588 h 936104"/>
              <a:gd name="connsiteX2" fmla="*/ 2072977 w 2203404"/>
              <a:gd name="connsiteY2" fmla="*/ 0 h 936104"/>
              <a:gd name="connsiteX3" fmla="*/ 2077985 w 2203404"/>
              <a:gd name="connsiteY3" fmla="*/ 15194 h 936104"/>
              <a:gd name="connsiteX4" fmla="*/ 2203404 w 2203404"/>
              <a:gd name="connsiteY4" fmla="*/ 468052 h 936104"/>
              <a:gd name="connsiteX5" fmla="*/ 2072977 w 2203404"/>
              <a:gd name="connsiteY5" fmla="*/ 936104 h 936104"/>
              <a:gd name="connsiteX6" fmla="*/ 9699 w 2203404"/>
              <a:gd name="connsiteY6" fmla="*/ 935037 h 936104"/>
              <a:gd name="connsiteX7" fmla="*/ 1536 w 2203404"/>
              <a:gd name="connsiteY7" fmla="*/ 929594 h 936104"/>
              <a:gd name="connsiteX8" fmla="*/ 1536 w 2203404"/>
              <a:gd name="connsiteY8" fmla="*/ 9751 h 936104"/>
              <a:gd name="connsiteX0" fmla="*/ 1536 w 2203404"/>
              <a:gd name="connsiteY0" fmla="*/ 10885 h 937238"/>
              <a:gd name="connsiteX1" fmla="*/ 12421 w 2203404"/>
              <a:gd name="connsiteY1" fmla="*/ 2722 h 937238"/>
              <a:gd name="connsiteX2" fmla="*/ 2034442 w 2203404"/>
              <a:gd name="connsiteY2" fmla="*/ 0 h 937238"/>
              <a:gd name="connsiteX3" fmla="*/ 2072977 w 2203404"/>
              <a:gd name="connsiteY3" fmla="*/ 1134 h 937238"/>
              <a:gd name="connsiteX4" fmla="*/ 2077985 w 2203404"/>
              <a:gd name="connsiteY4" fmla="*/ 16328 h 937238"/>
              <a:gd name="connsiteX5" fmla="*/ 2203404 w 2203404"/>
              <a:gd name="connsiteY5" fmla="*/ 469186 h 937238"/>
              <a:gd name="connsiteX6" fmla="*/ 2072977 w 2203404"/>
              <a:gd name="connsiteY6" fmla="*/ 937238 h 937238"/>
              <a:gd name="connsiteX7" fmla="*/ 9699 w 2203404"/>
              <a:gd name="connsiteY7" fmla="*/ 936171 h 937238"/>
              <a:gd name="connsiteX8" fmla="*/ 1536 w 2203404"/>
              <a:gd name="connsiteY8" fmla="*/ 930728 h 937238"/>
              <a:gd name="connsiteX9" fmla="*/ 1536 w 2203404"/>
              <a:gd name="connsiteY9" fmla="*/ 10885 h 937238"/>
              <a:gd name="connsiteX0" fmla="*/ 1536 w 2203404"/>
              <a:gd name="connsiteY0" fmla="*/ 9751 h 936104"/>
              <a:gd name="connsiteX1" fmla="*/ 12421 w 2203404"/>
              <a:gd name="connsiteY1" fmla="*/ 1588 h 936104"/>
              <a:gd name="connsiteX2" fmla="*/ 2061656 w 2203404"/>
              <a:gd name="connsiteY2" fmla="*/ 1588 h 936104"/>
              <a:gd name="connsiteX3" fmla="*/ 2072977 w 2203404"/>
              <a:gd name="connsiteY3" fmla="*/ 0 h 936104"/>
              <a:gd name="connsiteX4" fmla="*/ 2077985 w 2203404"/>
              <a:gd name="connsiteY4" fmla="*/ 15194 h 936104"/>
              <a:gd name="connsiteX5" fmla="*/ 2203404 w 2203404"/>
              <a:gd name="connsiteY5" fmla="*/ 468052 h 936104"/>
              <a:gd name="connsiteX6" fmla="*/ 2072977 w 2203404"/>
              <a:gd name="connsiteY6" fmla="*/ 936104 h 936104"/>
              <a:gd name="connsiteX7" fmla="*/ 9699 w 2203404"/>
              <a:gd name="connsiteY7" fmla="*/ 935037 h 936104"/>
              <a:gd name="connsiteX8" fmla="*/ 1536 w 2203404"/>
              <a:gd name="connsiteY8" fmla="*/ 929594 h 936104"/>
              <a:gd name="connsiteX9" fmla="*/ 1536 w 2203404"/>
              <a:gd name="connsiteY9" fmla="*/ 9751 h 936104"/>
              <a:gd name="connsiteX0" fmla="*/ 1536 w 2203404"/>
              <a:gd name="connsiteY0" fmla="*/ 8163 h 934516"/>
              <a:gd name="connsiteX1" fmla="*/ 12421 w 2203404"/>
              <a:gd name="connsiteY1" fmla="*/ 0 h 934516"/>
              <a:gd name="connsiteX2" fmla="*/ 2061656 w 2203404"/>
              <a:gd name="connsiteY2" fmla="*/ 0 h 934516"/>
              <a:gd name="connsiteX3" fmla="*/ 2077985 w 2203404"/>
              <a:gd name="connsiteY3" fmla="*/ 13606 h 934516"/>
              <a:gd name="connsiteX4" fmla="*/ 2203404 w 2203404"/>
              <a:gd name="connsiteY4" fmla="*/ 466464 h 934516"/>
              <a:gd name="connsiteX5" fmla="*/ 2072977 w 2203404"/>
              <a:gd name="connsiteY5" fmla="*/ 934516 h 934516"/>
              <a:gd name="connsiteX6" fmla="*/ 9699 w 2203404"/>
              <a:gd name="connsiteY6" fmla="*/ 933449 h 934516"/>
              <a:gd name="connsiteX7" fmla="*/ 1536 w 2203404"/>
              <a:gd name="connsiteY7" fmla="*/ 928006 h 934516"/>
              <a:gd name="connsiteX8" fmla="*/ 1536 w 2203404"/>
              <a:gd name="connsiteY8" fmla="*/ 8163 h 934516"/>
              <a:gd name="connsiteX0" fmla="*/ 1536 w 2203404"/>
              <a:gd name="connsiteY0" fmla="*/ 8163 h 934516"/>
              <a:gd name="connsiteX1" fmla="*/ 12421 w 2203404"/>
              <a:gd name="connsiteY1" fmla="*/ 0 h 934516"/>
              <a:gd name="connsiteX2" fmla="*/ 2061656 w 2203404"/>
              <a:gd name="connsiteY2" fmla="*/ 0 h 934516"/>
              <a:gd name="connsiteX3" fmla="*/ 2077985 w 2203404"/>
              <a:gd name="connsiteY3" fmla="*/ 2720 h 934516"/>
              <a:gd name="connsiteX4" fmla="*/ 2203404 w 2203404"/>
              <a:gd name="connsiteY4" fmla="*/ 466464 h 934516"/>
              <a:gd name="connsiteX5" fmla="*/ 2072977 w 2203404"/>
              <a:gd name="connsiteY5" fmla="*/ 934516 h 934516"/>
              <a:gd name="connsiteX6" fmla="*/ 9699 w 2203404"/>
              <a:gd name="connsiteY6" fmla="*/ 933449 h 934516"/>
              <a:gd name="connsiteX7" fmla="*/ 1536 w 2203404"/>
              <a:gd name="connsiteY7" fmla="*/ 928006 h 934516"/>
              <a:gd name="connsiteX8" fmla="*/ 1536 w 2203404"/>
              <a:gd name="connsiteY8" fmla="*/ 8163 h 934516"/>
              <a:gd name="connsiteX0" fmla="*/ 1536 w 2203404"/>
              <a:gd name="connsiteY0" fmla="*/ 8163 h 934516"/>
              <a:gd name="connsiteX1" fmla="*/ 12421 w 2203404"/>
              <a:gd name="connsiteY1" fmla="*/ 0 h 934516"/>
              <a:gd name="connsiteX2" fmla="*/ 2061656 w 2203404"/>
              <a:gd name="connsiteY2" fmla="*/ 0 h 934516"/>
              <a:gd name="connsiteX3" fmla="*/ 2077985 w 2203404"/>
              <a:gd name="connsiteY3" fmla="*/ 2720 h 934516"/>
              <a:gd name="connsiteX4" fmla="*/ 2203404 w 2203404"/>
              <a:gd name="connsiteY4" fmla="*/ 466464 h 934516"/>
              <a:gd name="connsiteX5" fmla="*/ 2077985 w 2203404"/>
              <a:gd name="connsiteY5" fmla="*/ 922563 h 934516"/>
              <a:gd name="connsiteX6" fmla="*/ 2072977 w 2203404"/>
              <a:gd name="connsiteY6" fmla="*/ 934516 h 934516"/>
              <a:gd name="connsiteX7" fmla="*/ 9699 w 2203404"/>
              <a:gd name="connsiteY7" fmla="*/ 933449 h 934516"/>
              <a:gd name="connsiteX8" fmla="*/ 1536 w 2203404"/>
              <a:gd name="connsiteY8" fmla="*/ 928006 h 934516"/>
              <a:gd name="connsiteX9" fmla="*/ 1536 w 2203404"/>
              <a:gd name="connsiteY9" fmla="*/ 8163 h 934516"/>
              <a:gd name="connsiteX0" fmla="*/ 1536 w 2203404"/>
              <a:gd name="connsiteY0" fmla="*/ 8163 h 934516"/>
              <a:gd name="connsiteX1" fmla="*/ 12421 w 2203404"/>
              <a:gd name="connsiteY1" fmla="*/ 0 h 934516"/>
              <a:gd name="connsiteX2" fmla="*/ 2061656 w 2203404"/>
              <a:gd name="connsiteY2" fmla="*/ 0 h 934516"/>
              <a:gd name="connsiteX3" fmla="*/ 2077985 w 2203404"/>
              <a:gd name="connsiteY3" fmla="*/ 2720 h 934516"/>
              <a:gd name="connsiteX4" fmla="*/ 2203404 w 2203404"/>
              <a:gd name="connsiteY4" fmla="*/ 466464 h 934516"/>
              <a:gd name="connsiteX5" fmla="*/ 2077985 w 2203404"/>
              <a:gd name="connsiteY5" fmla="*/ 922563 h 934516"/>
              <a:gd name="connsiteX6" fmla="*/ 2072977 w 2203404"/>
              <a:gd name="connsiteY6" fmla="*/ 934516 h 934516"/>
              <a:gd name="connsiteX7" fmla="*/ 2056213 w 2203404"/>
              <a:gd name="connsiteY7" fmla="*/ 933449 h 934516"/>
              <a:gd name="connsiteX8" fmla="*/ 9699 w 2203404"/>
              <a:gd name="connsiteY8" fmla="*/ 933449 h 934516"/>
              <a:gd name="connsiteX9" fmla="*/ 1536 w 2203404"/>
              <a:gd name="connsiteY9" fmla="*/ 928006 h 934516"/>
              <a:gd name="connsiteX10" fmla="*/ 1536 w 2203404"/>
              <a:gd name="connsiteY10" fmla="*/ 8163 h 934516"/>
              <a:gd name="connsiteX0" fmla="*/ 1536 w 2203404"/>
              <a:gd name="connsiteY0" fmla="*/ 8163 h 934516"/>
              <a:gd name="connsiteX1" fmla="*/ 12421 w 2203404"/>
              <a:gd name="connsiteY1" fmla="*/ 0 h 934516"/>
              <a:gd name="connsiteX2" fmla="*/ 2061656 w 2203404"/>
              <a:gd name="connsiteY2" fmla="*/ 0 h 934516"/>
              <a:gd name="connsiteX3" fmla="*/ 2077985 w 2203404"/>
              <a:gd name="connsiteY3" fmla="*/ 2720 h 934516"/>
              <a:gd name="connsiteX4" fmla="*/ 2203404 w 2203404"/>
              <a:gd name="connsiteY4" fmla="*/ 466464 h 934516"/>
              <a:gd name="connsiteX5" fmla="*/ 2077985 w 2203404"/>
              <a:gd name="connsiteY5" fmla="*/ 922563 h 934516"/>
              <a:gd name="connsiteX6" fmla="*/ 2072977 w 2203404"/>
              <a:gd name="connsiteY6" fmla="*/ 934516 h 934516"/>
              <a:gd name="connsiteX7" fmla="*/ 1914699 w 2203404"/>
              <a:gd name="connsiteY7" fmla="*/ 933449 h 934516"/>
              <a:gd name="connsiteX8" fmla="*/ 9699 w 2203404"/>
              <a:gd name="connsiteY8" fmla="*/ 933449 h 934516"/>
              <a:gd name="connsiteX9" fmla="*/ 1536 w 2203404"/>
              <a:gd name="connsiteY9" fmla="*/ 928006 h 934516"/>
              <a:gd name="connsiteX10" fmla="*/ 1536 w 2203404"/>
              <a:gd name="connsiteY10" fmla="*/ 8163 h 934516"/>
              <a:gd name="connsiteX0" fmla="*/ 1536 w 2203404"/>
              <a:gd name="connsiteY0" fmla="*/ 8163 h 934516"/>
              <a:gd name="connsiteX1" fmla="*/ 12421 w 2203404"/>
              <a:gd name="connsiteY1" fmla="*/ 0 h 934516"/>
              <a:gd name="connsiteX2" fmla="*/ 2061656 w 2203404"/>
              <a:gd name="connsiteY2" fmla="*/ 0 h 934516"/>
              <a:gd name="connsiteX3" fmla="*/ 2077985 w 2203404"/>
              <a:gd name="connsiteY3" fmla="*/ 2720 h 934516"/>
              <a:gd name="connsiteX4" fmla="*/ 2203404 w 2203404"/>
              <a:gd name="connsiteY4" fmla="*/ 466464 h 934516"/>
              <a:gd name="connsiteX5" fmla="*/ 2077985 w 2203404"/>
              <a:gd name="connsiteY5" fmla="*/ 922563 h 934516"/>
              <a:gd name="connsiteX6" fmla="*/ 2072977 w 2203404"/>
              <a:gd name="connsiteY6" fmla="*/ 934516 h 934516"/>
              <a:gd name="connsiteX7" fmla="*/ 1914699 w 2203404"/>
              <a:gd name="connsiteY7" fmla="*/ 933449 h 934516"/>
              <a:gd name="connsiteX8" fmla="*/ 9699 w 2203404"/>
              <a:gd name="connsiteY8" fmla="*/ 933449 h 934516"/>
              <a:gd name="connsiteX9" fmla="*/ 1536 w 2203404"/>
              <a:gd name="connsiteY9" fmla="*/ 928006 h 934516"/>
              <a:gd name="connsiteX10" fmla="*/ 1536 w 2203404"/>
              <a:gd name="connsiteY10" fmla="*/ 8163 h 934516"/>
              <a:gd name="connsiteX0" fmla="*/ 1536 w 2203404"/>
              <a:gd name="connsiteY0" fmla="*/ 8163 h 936170"/>
              <a:gd name="connsiteX1" fmla="*/ 12421 w 2203404"/>
              <a:gd name="connsiteY1" fmla="*/ 0 h 936170"/>
              <a:gd name="connsiteX2" fmla="*/ 2061656 w 2203404"/>
              <a:gd name="connsiteY2" fmla="*/ 0 h 936170"/>
              <a:gd name="connsiteX3" fmla="*/ 2077985 w 2203404"/>
              <a:gd name="connsiteY3" fmla="*/ 2720 h 936170"/>
              <a:gd name="connsiteX4" fmla="*/ 2203404 w 2203404"/>
              <a:gd name="connsiteY4" fmla="*/ 466464 h 936170"/>
              <a:gd name="connsiteX5" fmla="*/ 2077985 w 2203404"/>
              <a:gd name="connsiteY5" fmla="*/ 922563 h 936170"/>
              <a:gd name="connsiteX6" fmla="*/ 2072977 w 2203404"/>
              <a:gd name="connsiteY6" fmla="*/ 934516 h 936170"/>
              <a:gd name="connsiteX7" fmla="*/ 2058935 w 2203404"/>
              <a:gd name="connsiteY7" fmla="*/ 936170 h 936170"/>
              <a:gd name="connsiteX8" fmla="*/ 9699 w 2203404"/>
              <a:gd name="connsiteY8" fmla="*/ 933449 h 936170"/>
              <a:gd name="connsiteX9" fmla="*/ 1536 w 2203404"/>
              <a:gd name="connsiteY9" fmla="*/ 928006 h 936170"/>
              <a:gd name="connsiteX10" fmla="*/ 1536 w 2203404"/>
              <a:gd name="connsiteY10" fmla="*/ 8163 h 936170"/>
              <a:gd name="connsiteX0" fmla="*/ 1536 w 2203404"/>
              <a:gd name="connsiteY0" fmla="*/ 8163 h 936170"/>
              <a:gd name="connsiteX1" fmla="*/ 12421 w 2203404"/>
              <a:gd name="connsiteY1" fmla="*/ 0 h 936170"/>
              <a:gd name="connsiteX2" fmla="*/ 2061656 w 2203404"/>
              <a:gd name="connsiteY2" fmla="*/ 0 h 936170"/>
              <a:gd name="connsiteX3" fmla="*/ 2077985 w 2203404"/>
              <a:gd name="connsiteY3" fmla="*/ 2720 h 936170"/>
              <a:gd name="connsiteX4" fmla="*/ 2203404 w 2203404"/>
              <a:gd name="connsiteY4" fmla="*/ 466464 h 936170"/>
              <a:gd name="connsiteX5" fmla="*/ 2077985 w 2203404"/>
              <a:gd name="connsiteY5" fmla="*/ 922563 h 936170"/>
              <a:gd name="connsiteX6" fmla="*/ 2058935 w 2203404"/>
              <a:gd name="connsiteY6" fmla="*/ 936170 h 936170"/>
              <a:gd name="connsiteX7" fmla="*/ 9699 w 2203404"/>
              <a:gd name="connsiteY7" fmla="*/ 933449 h 936170"/>
              <a:gd name="connsiteX8" fmla="*/ 1536 w 2203404"/>
              <a:gd name="connsiteY8" fmla="*/ 928006 h 936170"/>
              <a:gd name="connsiteX9" fmla="*/ 1536 w 2203404"/>
              <a:gd name="connsiteY9" fmla="*/ 8163 h 936170"/>
              <a:gd name="connsiteX0" fmla="*/ 1536 w 2203404"/>
              <a:gd name="connsiteY0" fmla="*/ 8163 h 936170"/>
              <a:gd name="connsiteX1" fmla="*/ 12421 w 2203404"/>
              <a:gd name="connsiteY1" fmla="*/ 0 h 936170"/>
              <a:gd name="connsiteX2" fmla="*/ 2061656 w 2203404"/>
              <a:gd name="connsiteY2" fmla="*/ 0 h 936170"/>
              <a:gd name="connsiteX3" fmla="*/ 2077985 w 2203404"/>
              <a:gd name="connsiteY3" fmla="*/ 2720 h 936170"/>
              <a:gd name="connsiteX4" fmla="*/ 2203404 w 2203404"/>
              <a:gd name="connsiteY4" fmla="*/ 466464 h 936170"/>
              <a:gd name="connsiteX5" fmla="*/ 2077985 w 2203404"/>
              <a:gd name="connsiteY5" fmla="*/ 922563 h 936170"/>
              <a:gd name="connsiteX6" fmla="*/ 2069820 w 2203404"/>
              <a:gd name="connsiteY6" fmla="*/ 936170 h 936170"/>
              <a:gd name="connsiteX7" fmla="*/ 9699 w 2203404"/>
              <a:gd name="connsiteY7" fmla="*/ 933449 h 936170"/>
              <a:gd name="connsiteX8" fmla="*/ 1536 w 2203404"/>
              <a:gd name="connsiteY8" fmla="*/ 928006 h 936170"/>
              <a:gd name="connsiteX9" fmla="*/ 1536 w 2203404"/>
              <a:gd name="connsiteY9" fmla="*/ 8163 h 936170"/>
              <a:gd name="connsiteX0" fmla="*/ 1536 w 2203404"/>
              <a:gd name="connsiteY0" fmla="*/ 8163 h 936170"/>
              <a:gd name="connsiteX1" fmla="*/ 12421 w 2203404"/>
              <a:gd name="connsiteY1" fmla="*/ 0 h 936170"/>
              <a:gd name="connsiteX2" fmla="*/ 2061656 w 2203404"/>
              <a:gd name="connsiteY2" fmla="*/ 0 h 936170"/>
              <a:gd name="connsiteX3" fmla="*/ 2077985 w 2203404"/>
              <a:gd name="connsiteY3" fmla="*/ 2720 h 936170"/>
              <a:gd name="connsiteX4" fmla="*/ 2203404 w 2203404"/>
              <a:gd name="connsiteY4" fmla="*/ 466464 h 936170"/>
              <a:gd name="connsiteX5" fmla="*/ 2077985 w 2203404"/>
              <a:gd name="connsiteY5" fmla="*/ 922563 h 936170"/>
              <a:gd name="connsiteX6" fmla="*/ 2069820 w 2203404"/>
              <a:gd name="connsiteY6" fmla="*/ 936170 h 936170"/>
              <a:gd name="connsiteX7" fmla="*/ 9699 w 2203404"/>
              <a:gd name="connsiteY7" fmla="*/ 933449 h 936170"/>
              <a:gd name="connsiteX8" fmla="*/ 1536 w 2203404"/>
              <a:gd name="connsiteY8" fmla="*/ 928006 h 936170"/>
              <a:gd name="connsiteX9" fmla="*/ 1536 w 2203404"/>
              <a:gd name="connsiteY9" fmla="*/ 8163 h 93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03404" h="936170">
                <a:moveTo>
                  <a:pt x="1536" y="8163"/>
                </a:moveTo>
                <a:cubicBezTo>
                  <a:pt x="11515" y="-1362"/>
                  <a:pt x="-805" y="18407"/>
                  <a:pt x="12421" y="0"/>
                </a:cubicBezTo>
                <a:lnTo>
                  <a:pt x="2061656" y="0"/>
                </a:lnTo>
                <a:lnTo>
                  <a:pt x="2077985" y="2720"/>
                </a:lnTo>
                <a:lnTo>
                  <a:pt x="2203404" y="466464"/>
                </a:lnTo>
                <a:lnTo>
                  <a:pt x="2077985" y="922563"/>
                </a:lnTo>
                <a:lnTo>
                  <a:pt x="2069820" y="936170"/>
                </a:lnTo>
                <a:lnTo>
                  <a:pt x="9699" y="933449"/>
                </a:lnTo>
                <a:lnTo>
                  <a:pt x="1536" y="928006"/>
                </a:lnTo>
                <a:cubicBezTo>
                  <a:pt x="-732" y="775153"/>
                  <a:pt x="-278" y="161923"/>
                  <a:pt x="1536" y="816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 err="1" smtClean="0">
                <a:solidFill>
                  <a:schemeClr val="tx1"/>
                </a:solidFill>
              </a:rPr>
              <a:t>Use</a:t>
            </a:r>
            <a:r>
              <a:rPr lang="de-DE" sz="1200" b="1" dirty="0" smtClean="0">
                <a:solidFill>
                  <a:schemeClr val="tx1"/>
                </a:solidFill>
              </a:rPr>
              <a:t> </a:t>
            </a:r>
            <a:r>
              <a:rPr lang="de-DE" sz="1200" b="1" dirty="0" err="1" smtClean="0">
                <a:solidFill>
                  <a:schemeClr val="tx1"/>
                </a:solidFill>
              </a:rPr>
              <a:t>cases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28" name="Eingekerbter Richtungspfeil 27"/>
          <p:cNvSpPr/>
          <p:nvPr/>
        </p:nvSpPr>
        <p:spPr>
          <a:xfrm>
            <a:off x="3251279" y="1655138"/>
            <a:ext cx="2202728" cy="938213"/>
          </a:xfrm>
          <a:custGeom>
            <a:avLst/>
            <a:gdLst>
              <a:gd name="connsiteX0" fmla="*/ 0 w 2200115"/>
              <a:gd name="connsiteY0" fmla="*/ 0 h 936104"/>
              <a:gd name="connsiteX1" fmla="*/ 2069688 w 2200115"/>
              <a:gd name="connsiteY1" fmla="*/ 0 h 936104"/>
              <a:gd name="connsiteX2" fmla="*/ 2200115 w 2200115"/>
              <a:gd name="connsiteY2" fmla="*/ 468052 h 936104"/>
              <a:gd name="connsiteX3" fmla="*/ 2069688 w 2200115"/>
              <a:gd name="connsiteY3" fmla="*/ 936104 h 936104"/>
              <a:gd name="connsiteX4" fmla="*/ 0 w 2200115"/>
              <a:gd name="connsiteY4" fmla="*/ 936104 h 936104"/>
              <a:gd name="connsiteX5" fmla="*/ 130427 w 2200115"/>
              <a:gd name="connsiteY5" fmla="*/ 468052 h 936104"/>
              <a:gd name="connsiteX6" fmla="*/ 0 w 2200115"/>
              <a:gd name="connsiteY6" fmla="*/ 0 h 936104"/>
              <a:gd name="connsiteX0" fmla="*/ 0 w 2200115"/>
              <a:gd name="connsiteY0" fmla="*/ 0 h 936104"/>
              <a:gd name="connsiteX1" fmla="*/ 2069688 w 2200115"/>
              <a:gd name="connsiteY1" fmla="*/ 0 h 936104"/>
              <a:gd name="connsiteX2" fmla="*/ 2200115 w 2200115"/>
              <a:gd name="connsiteY2" fmla="*/ 468052 h 936104"/>
              <a:gd name="connsiteX3" fmla="*/ 2069688 w 2200115"/>
              <a:gd name="connsiteY3" fmla="*/ 936104 h 936104"/>
              <a:gd name="connsiteX4" fmla="*/ 0 w 2200115"/>
              <a:gd name="connsiteY4" fmla="*/ 936104 h 936104"/>
              <a:gd name="connsiteX5" fmla="*/ 130427 w 2200115"/>
              <a:gd name="connsiteY5" fmla="*/ 468052 h 936104"/>
              <a:gd name="connsiteX6" fmla="*/ 2149 w 2200115"/>
              <a:gd name="connsiteY6" fmla="*/ 11839 h 936104"/>
              <a:gd name="connsiteX7" fmla="*/ 0 w 2200115"/>
              <a:gd name="connsiteY7" fmla="*/ 0 h 936104"/>
              <a:gd name="connsiteX0" fmla="*/ 0 w 2200115"/>
              <a:gd name="connsiteY0" fmla="*/ 67 h 936171"/>
              <a:gd name="connsiteX1" fmla="*/ 11674 w 2200115"/>
              <a:gd name="connsiteY1" fmla="*/ 0 h 936171"/>
              <a:gd name="connsiteX2" fmla="*/ 2069688 w 2200115"/>
              <a:gd name="connsiteY2" fmla="*/ 67 h 936171"/>
              <a:gd name="connsiteX3" fmla="*/ 2200115 w 2200115"/>
              <a:gd name="connsiteY3" fmla="*/ 468119 h 936171"/>
              <a:gd name="connsiteX4" fmla="*/ 2069688 w 2200115"/>
              <a:gd name="connsiteY4" fmla="*/ 936171 h 936171"/>
              <a:gd name="connsiteX5" fmla="*/ 0 w 2200115"/>
              <a:gd name="connsiteY5" fmla="*/ 936171 h 936171"/>
              <a:gd name="connsiteX6" fmla="*/ 130427 w 2200115"/>
              <a:gd name="connsiteY6" fmla="*/ 468119 h 936171"/>
              <a:gd name="connsiteX7" fmla="*/ 2149 w 2200115"/>
              <a:gd name="connsiteY7" fmla="*/ 11906 h 936171"/>
              <a:gd name="connsiteX8" fmla="*/ 0 w 2200115"/>
              <a:gd name="connsiteY8" fmla="*/ 67 h 936171"/>
              <a:gd name="connsiteX0" fmla="*/ 2149 w 2200115"/>
              <a:gd name="connsiteY0" fmla="*/ 11906 h 936171"/>
              <a:gd name="connsiteX1" fmla="*/ 11674 w 2200115"/>
              <a:gd name="connsiteY1" fmla="*/ 0 h 936171"/>
              <a:gd name="connsiteX2" fmla="*/ 2069688 w 2200115"/>
              <a:gd name="connsiteY2" fmla="*/ 67 h 936171"/>
              <a:gd name="connsiteX3" fmla="*/ 2200115 w 2200115"/>
              <a:gd name="connsiteY3" fmla="*/ 468119 h 936171"/>
              <a:gd name="connsiteX4" fmla="*/ 2069688 w 2200115"/>
              <a:gd name="connsiteY4" fmla="*/ 936171 h 936171"/>
              <a:gd name="connsiteX5" fmla="*/ 0 w 2200115"/>
              <a:gd name="connsiteY5" fmla="*/ 936171 h 936171"/>
              <a:gd name="connsiteX6" fmla="*/ 130427 w 2200115"/>
              <a:gd name="connsiteY6" fmla="*/ 468119 h 936171"/>
              <a:gd name="connsiteX7" fmla="*/ 2149 w 2200115"/>
              <a:gd name="connsiteY7" fmla="*/ 11906 h 936171"/>
              <a:gd name="connsiteX0" fmla="*/ 2381 w 2200347"/>
              <a:gd name="connsiteY0" fmla="*/ 11906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232 w 2200347"/>
              <a:gd name="connsiteY5" fmla="*/ 936171 h 936171"/>
              <a:gd name="connsiteX6" fmla="*/ 0 w 2200347"/>
              <a:gd name="connsiteY6" fmla="*/ 923926 h 936171"/>
              <a:gd name="connsiteX7" fmla="*/ 130659 w 2200347"/>
              <a:gd name="connsiteY7" fmla="*/ 468119 h 936171"/>
              <a:gd name="connsiteX8" fmla="*/ 2381 w 2200347"/>
              <a:gd name="connsiteY8" fmla="*/ 11906 h 936171"/>
              <a:gd name="connsiteX0" fmla="*/ 2381 w 2200347"/>
              <a:gd name="connsiteY0" fmla="*/ 11906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11906 w 2200347"/>
              <a:gd name="connsiteY5" fmla="*/ 935832 h 936171"/>
              <a:gd name="connsiteX6" fmla="*/ 232 w 2200347"/>
              <a:gd name="connsiteY6" fmla="*/ 936171 h 936171"/>
              <a:gd name="connsiteX7" fmla="*/ 0 w 2200347"/>
              <a:gd name="connsiteY7" fmla="*/ 923926 h 936171"/>
              <a:gd name="connsiteX8" fmla="*/ 130659 w 2200347"/>
              <a:gd name="connsiteY8" fmla="*/ 468119 h 936171"/>
              <a:gd name="connsiteX9" fmla="*/ 2381 w 2200347"/>
              <a:gd name="connsiteY9" fmla="*/ 11906 h 936171"/>
              <a:gd name="connsiteX0" fmla="*/ 2381 w 2200347"/>
              <a:gd name="connsiteY0" fmla="*/ 11906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11906 w 2200347"/>
              <a:gd name="connsiteY5" fmla="*/ 935832 h 936171"/>
              <a:gd name="connsiteX6" fmla="*/ 0 w 2200347"/>
              <a:gd name="connsiteY6" fmla="*/ 923926 h 936171"/>
              <a:gd name="connsiteX7" fmla="*/ 130659 w 2200347"/>
              <a:gd name="connsiteY7" fmla="*/ 468119 h 936171"/>
              <a:gd name="connsiteX8" fmla="*/ 2381 w 2200347"/>
              <a:gd name="connsiteY8" fmla="*/ 11906 h 936171"/>
              <a:gd name="connsiteX0" fmla="*/ 2381 w 2200347"/>
              <a:gd name="connsiteY0" fmla="*/ 7143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11906 w 2200347"/>
              <a:gd name="connsiteY5" fmla="*/ 935832 h 936171"/>
              <a:gd name="connsiteX6" fmla="*/ 0 w 2200347"/>
              <a:gd name="connsiteY6" fmla="*/ 923926 h 936171"/>
              <a:gd name="connsiteX7" fmla="*/ 130659 w 2200347"/>
              <a:gd name="connsiteY7" fmla="*/ 468119 h 936171"/>
              <a:gd name="connsiteX8" fmla="*/ 2381 w 2200347"/>
              <a:gd name="connsiteY8" fmla="*/ 7143 h 936171"/>
              <a:gd name="connsiteX0" fmla="*/ 2382 w 2200348"/>
              <a:gd name="connsiteY0" fmla="*/ 7143 h 936171"/>
              <a:gd name="connsiteX1" fmla="*/ 11907 w 2200348"/>
              <a:gd name="connsiteY1" fmla="*/ 0 h 936171"/>
              <a:gd name="connsiteX2" fmla="*/ 2069921 w 2200348"/>
              <a:gd name="connsiteY2" fmla="*/ 67 h 936171"/>
              <a:gd name="connsiteX3" fmla="*/ 2200348 w 2200348"/>
              <a:gd name="connsiteY3" fmla="*/ 468119 h 936171"/>
              <a:gd name="connsiteX4" fmla="*/ 2069921 w 2200348"/>
              <a:gd name="connsiteY4" fmla="*/ 936171 h 936171"/>
              <a:gd name="connsiteX5" fmla="*/ 0 w 2200348"/>
              <a:gd name="connsiteY5" fmla="*/ 935832 h 936171"/>
              <a:gd name="connsiteX6" fmla="*/ 1 w 2200348"/>
              <a:gd name="connsiteY6" fmla="*/ 923926 h 936171"/>
              <a:gd name="connsiteX7" fmla="*/ 130660 w 2200348"/>
              <a:gd name="connsiteY7" fmla="*/ 468119 h 936171"/>
              <a:gd name="connsiteX8" fmla="*/ 2382 w 2200348"/>
              <a:gd name="connsiteY8" fmla="*/ 7143 h 936171"/>
              <a:gd name="connsiteX0" fmla="*/ 2382 w 2200348"/>
              <a:gd name="connsiteY0" fmla="*/ 7143 h 936171"/>
              <a:gd name="connsiteX1" fmla="*/ 4763 w 2200348"/>
              <a:gd name="connsiteY1" fmla="*/ 0 h 936171"/>
              <a:gd name="connsiteX2" fmla="*/ 2069921 w 2200348"/>
              <a:gd name="connsiteY2" fmla="*/ 67 h 936171"/>
              <a:gd name="connsiteX3" fmla="*/ 2200348 w 2200348"/>
              <a:gd name="connsiteY3" fmla="*/ 468119 h 936171"/>
              <a:gd name="connsiteX4" fmla="*/ 2069921 w 2200348"/>
              <a:gd name="connsiteY4" fmla="*/ 936171 h 936171"/>
              <a:gd name="connsiteX5" fmla="*/ 0 w 2200348"/>
              <a:gd name="connsiteY5" fmla="*/ 935832 h 936171"/>
              <a:gd name="connsiteX6" fmla="*/ 1 w 2200348"/>
              <a:gd name="connsiteY6" fmla="*/ 923926 h 936171"/>
              <a:gd name="connsiteX7" fmla="*/ 130660 w 2200348"/>
              <a:gd name="connsiteY7" fmla="*/ 468119 h 936171"/>
              <a:gd name="connsiteX8" fmla="*/ 2382 w 2200348"/>
              <a:gd name="connsiteY8" fmla="*/ 7143 h 936171"/>
              <a:gd name="connsiteX0" fmla="*/ 4762 w 2202728"/>
              <a:gd name="connsiteY0" fmla="*/ 7143 h 936171"/>
              <a:gd name="connsiteX1" fmla="*/ 7143 w 2202728"/>
              <a:gd name="connsiteY1" fmla="*/ 0 h 936171"/>
              <a:gd name="connsiteX2" fmla="*/ 2072301 w 2202728"/>
              <a:gd name="connsiteY2" fmla="*/ 67 h 936171"/>
              <a:gd name="connsiteX3" fmla="*/ 2202728 w 2202728"/>
              <a:gd name="connsiteY3" fmla="*/ 468119 h 936171"/>
              <a:gd name="connsiteX4" fmla="*/ 2072301 w 2202728"/>
              <a:gd name="connsiteY4" fmla="*/ 936171 h 936171"/>
              <a:gd name="connsiteX5" fmla="*/ 2380 w 2202728"/>
              <a:gd name="connsiteY5" fmla="*/ 935832 h 936171"/>
              <a:gd name="connsiteX6" fmla="*/ 0 w 2202728"/>
              <a:gd name="connsiteY6" fmla="*/ 928680 h 936171"/>
              <a:gd name="connsiteX7" fmla="*/ 133040 w 2202728"/>
              <a:gd name="connsiteY7" fmla="*/ 468119 h 936171"/>
              <a:gd name="connsiteX8" fmla="*/ 4762 w 2202728"/>
              <a:gd name="connsiteY8" fmla="*/ 7143 h 936171"/>
              <a:gd name="connsiteX0" fmla="*/ 4762 w 2202728"/>
              <a:gd name="connsiteY0" fmla="*/ 7143 h 936171"/>
              <a:gd name="connsiteX1" fmla="*/ 7143 w 2202728"/>
              <a:gd name="connsiteY1" fmla="*/ 0 h 936171"/>
              <a:gd name="connsiteX2" fmla="*/ 2072301 w 2202728"/>
              <a:gd name="connsiteY2" fmla="*/ 67 h 936171"/>
              <a:gd name="connsiteX3" fmla="*/ 2202728 w 2202728"/>
              <a:gd name="connsiteY3" fmla="*/ 468119 h 936171"/>
              <a:gd name="connsiteX4" fmla="*/ 2072301 w 2202728"/>
              <a:gd name="connsiteY4" fmla="*/ 936171 h 936171"/>
              <a:gd name="connsiteX5" fmla="*/ 2062162 w 2202728"/>
              <a:gd name="connsiteY5" fmla="*/ 933456 h 936171"/>
              <a:gd name="connsiteX6" fmla="*/ 2380 w 2202728"/>
              <a:gd name="connsiteY6" fmla="*/ 935832 h 936171"/>
              <a:gd name="connsiteX7" fmla="*/ 0 w 2202728"/>
              <a:gd name="connsiteY7" fmla="*/ 928680 h 936171"/>
              <a:gd name="connsiteX8" fmla="*/ 133040 w 2202728"/>
              <a:gd name="connsiteY8" fmla="*/ 468119 h 936171"/>
              <a:gd name="connsiteX9" fmla="*/ 4762 w 2202728"/>
              <a:gd name="connsiteY9" fmla="*/ 7143 h 936171"/>
              <a:gd name="connsiteX0" fmla="*/ 4762 w 2202728"/>
              <a:gd name="connsiteY0" fmla="*/ 7143 h 936171"/>
              <a:gd name="connsiteX1" fmla="*/ 7143 w 2202728"/>
              <a:gd name="connsiteY1" fmla="*/ 0 h 936171"/>
              <a:gd name="connsiteX2" fmla="*/ 2072301 w 2202728"/>
              <a:gd name="connsiteY2" fmla="*/ 67 h 936171"/>
              <a:gd name="connsiteX3" fmla="*/ 2202728 w 2202728"/>
              <a:gd name="connsiteY3" fmla="*/ 468119 h 936171"/>
              <a:gd name="connsiteX4" fmla="*/ 2078831 w 2202728"/>
              <a:gd name="connsiteY4" fmla="*/ 926324 h 936171"/>
              <a:gd name="connsiteX5" fmla="*/ 2072301 w 2202728"/>
              <a:gd name="connsiteY5" fmla="*/ 936171 h 936171"/>
              <a:gd name="connsiteX6" fmla="*/ 2062162 w 2202728"/>
              <a:gd name="connsiteY6" fmla="*/ 933456 h 936171"/>
              <a:gd name="connsiteX7" fmla="*/ 2380 w 2202728"/>
              <a:gd name="connsiteY7" fmla="*/ 935832 h 936171"/>
              <a:gd name="connsiteX8" fmla="*/ 0 w 2202728"/>
              <a:gd name="connsiteY8" fmla="*/ 928680 h 936171"/>
              <a:gd name="connsiteX9" fmla="*/ 133040 w 2202728"/>
              <a:gd name="connsiteY9" fmla="*/ 468119 h 936171"/>
              <a:gd name="connsiteX10" fmla="*/ 4762 w 2202728"/>
              <a:gd name="connsiteY10" fmla="*/ 7143 h 936171"/>
              <a:gd name="connsiteX0" fmla="*/ 4762 w 2202728"/>
              <a:gd name="connsiteY0" fmla="*/ 7143 h 935832"/>
              <a:gd name="connsiteX1" fmla="*/ 7143 w 2202728"/>
              <a:gd name="connsiteY1" fmla="*/ 0 h 935832"/>
              <a:gd name="connsiteX2" fmla="*/ 2072301 w 2202728"/>
              <a:gd name="connsiteY2" fmla="*/ 67 h 935832"/>
              <a:gd name="connsiteX3" fmla="*/ 2202728 w 2202728"/>
              <a:gd name="connsiteY3" fmla="*/ 468119 h 935832"/>
              <a:gd name="connsiteX4" fmla="*/ 2078831 w 2202728"/>
              <a:gd name="connsiteY4" fmla="*/ 926324 h 935832"/>
              <a:gd name="connsiteX5" fmla="*/ 2062162 w 2202728"/>
              <a:gd name="connsiteY5" fmla="*/ 933456 h 935832"/>
              <a:gd name="connsiteX6" fmla="*/ 2380 w 2202728"/>
              <a:gd name="connsiteY6" fmla="*/ 935832 h 935832"/>
              <a:gd name="connsiteX7" fmla="*/ 0 w 2202728"/>
              <a:gd name="connsiteY7" fmla="*/ 928680 h 935832"/>
              <a:gd name="connsiteX8" fmla="*/ 133040 w 2202728"/>
              <a:gd name="connsiteY8" fmla="*/ 468119 h 935832"/>
              <a:gd name="connsiteX9" fmla="*/ 4762 w 2202728"/>
              <a:gd name="connsiteY9" fmla="*/ 7143 h 935832"/>
              <a:gd name="connsiteX0" fmla="*/ 4762 w 2202728"/>
              <a:gd name="connsiteY0" fmla="*/ 7143 h 935833"/>
              <a:gd name="connsiteX1" fmla="*/ 7143 w 2202728"/>
              <a:gd name="connsiteY1" fmla="*/ 0 h 935833"/>
              <a:gd name="connsiteX2" fmla="*/ 2072301 w 2202728"/>
              <a:gd name="connsiteY2" fmla="*/ 67 h 935833"/>
              <a:gd name="connsiteX3" fmla="*/ 2202728 w 2202728"/>
              <a:gd name="connsiteY3" fmla="*/ 468119 h 935833"/>
              <a:gd name="connsiteX4" fmla="*/ 2078831 w 2202728"/>
              <a:gd name="connsiteY4" fmla="*/ 926324 h 935833"/>
              <a:gd name="connsiteX5" fmla="*/ 2071687 w 2202728"/>
              <a:gd name="connsiteY5" fmla="*/ 935833 h 935833"/>
              <a:gd name="connsiteX6" fmla="*/ 2380 w 2202728"/>
              <a:gd name="connsiteY6" fmla="*/ 935832 h 935833"/>
              <a:gd name="connsiteX7" fmla="*/ 0 w 2202728"/>
              <a:gd name="connsiteY7" fmla="*/ 928680 h 935833"/>
              <a:gd name="connsiteX8" fmla="*/ 133040 w 2202728"/>
              <a:gd name="connsiteY8" fmla="*/ 468119 h 935833"/>
              <a:gd name="connsiteX9" fmla="*/ 4762 w 2202728"/>
              <a:gd name="connsiteY9" fmla="*/ 7143 h 935833"/>
              <a:gd name="connsiteX0" fmla="*/ 4762 w 2202728"/>
              <a:gd name="connsiteY0" fmla="*/ 7937 h 936627"/>
              <a:gd name="connsiteX1" fmla="*/ 7143 w 2202728"/>
              <a:gd name="connsiteY1" fmla="*/ 794 h 936627"/>
              <a:gd name="connsiteX2" fmla="*/ 2062162 w 2202728"/>
              <a:gd name="connsiteY2" fmla="*/ 0 h 936627"/>
              <a:gd name="connsiteX3" fmla="*/ 2072301 w 2202728"/>
              <a:gd name="connsiteY3" fmla="*/ 861 h 936627"/>
              <a:gd name="connsiteX4" fmla="*/ 2202728 w 2202728"/>
              <a:gd name="connsiteY4" fmla="*/ 468913 h 936627"/>
              <a:gd name="connsiteX5" fmla="*/ 2078831 w 2202728"/>
              <a:gd name="connsiteY5" fmla="*/ 927118 h 936627"/>
              <a:gd name="connsiteX6" fmla="*/ 2071687 w 2202728"/>
              <a:gd name="connsiteY6" fmla="*/ 936627 h 936627"/>
              <a:gd name="connsiteX7" fmla="*/ 2380 w 2202728"/>
              <a:gd name="connsiteY7" fmla="*/ 936626 h 936627"/>
              <a:gd name="connsiteX8" fmla="*/ 0 w 2202728"/>
              <a:gd name="connsiteY8" fmla="*/ 929474 h 936627"/>
              <a:gd name="connsiteX9" fmla="*/ 133040 w 2202728"/>
              <a:gd name="connsiteY9" fmla="*/ 468913 h 936627"/>
              <a:gd name="connsiteX10" fmla="*/ 4762 w 2202728"/>
              <a:gd name="connsiteY10" fmla="*/ 7937 h 936627"/>
              <a:gd name="connsiteX0" fmla="*/ 4762 w 2202728"/>
              <a:gd name="connsiteY0" fmla="*/ 7937 h 936627"/>
              <a:gd name="connsiteX1" fmla="*/ 7143 w 2202728"/>
              <a:gd name="connsiteY1" fmla="*/ 794 h 936627"/>
              <a:gd name="connsiteX2" fmla="*/ 2062162 w 2202728"/>
              <a:gd name="connsiteY2" fmla="*/ 0 h 936627"/>
              <a:gd name="connsiteX3" fmla="*/ 2072301 w 2202728"/>
              <a:gd name="connsiteY3" fmla="*/ 861 h 936627"/>
              <a:gd name="connsiteX4" fmla="*/ 2071687 w 2202728"/>
              <a:gd name="connsiteY4" fmla="*/ 9510 h 936627"/>
              <a:gd name="connsiteX5" fmla="*/ 2202728 w 2202728"/>
              <a:gd name="connsiteY5" fmla="*/ 468913 h 936627"/>
              <a:gd name="connsiteX6" fmla="*/ 2078831 w 2202728"/>
              <a:gd name="connsiteY6" fmla="*/ 927118 h 936627"/>
              <a:gd name="connsiteX7" fmla="*/ 2071687 w 2202728"/>
              <a:gd name="connsiteY7" fmla="*/ 936627 h 936627"/>
              <a:gd name="connsiteX8" fmla="*/ 2380 w 2202728"/>
              <a:gd name="connsiteY8" fmla="*/ 936626 h 936627"/>
              <a:gd name="connsiteX9" fmla="*/ 0 w 2202728"/>
              <a:gd name="connsiteY9" fmla="*/ 929474 h 936627"/>
              <a:gd name="connsiteX10" fmla="*/ 133040 w 2202728"/>
              <a:gd name="connsiteY10" fmla="*/ 468913 h 936627"/>
              <a:gd name="connsiteX11" fmla="*/ 4762 w 2202728"/>
              <a:gd name="connsiteY11" fmla="*/ 7937 h 936627"/>
              <a:gd name="connsiteX0" fmla="*/ 4762 w 2202728"/>
              <a:gd name="connsiteY0" fmla="*/ 7937 h 936627"/>
              <a:gd name="connsiteX1" fmla="*/ 7143 w 2202728"/>
              <a:gd name="connsiteY1" fmla="*/ 794 h 936627"/>
              <a:gd name="connsiteX2" fmla="*/ 2062162 w 2202728"/>
              <a:gd name="connsiteY2" fmla="*/ 0 h 936627"/>
              <a:gd name="connsiteX3" fmla="*/ 2071687 w 2202728"/>
              <a:gd name="connsiteY3" fmla="*/ 9510 h 936627"/>
              <a:gd name="connsiteX4" fmla="*/ 2202728 w 2202728"/>
              <a:gd name="connsiteY4" fmla="*/ 468913 h 936627"/>
              <a:gd name="connsiteX5" fmla="*/ 2078831 w 2202728"/>
              <a:gd name="connsiteY5" fmla="*/ 927118 h 936627"/>
              <a:gd name="connsiteX6" fmla="*/ 2071687 w 2202728"/>
              <a:gd name="connsiteY6" fmla="*/ 936627 h 936627"/>
              <a:gd name="connsiteX7" fmla="*/ 2380 w 2202728"/>
              <a:gd name="connsiteY7" fmla="*/ 936626 h 936627"/>
              <a:gd name="connsiteX8" fmla="*/ 0 w 2202728"/>
              <a:gd name="connsiteY8" fmla="*/ 929474 h 936627"/>
              <a:gd name="connsiteX9" fmla="*/ 133040 w 2202728"/>
              <a:gd name="connsiteY9" fmla="*/ 468913 h 936627"/>
              <a:gd name="connsiteX10" fmla="*/ 4762 w 2202728"/>
              <a:gd name="connsiteY10" fmla="*/ 7937 h 936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02728" h="936627">
                <a:moveTo>
                  <a:pt x="4762" y="7937"/>
                </a:moveTo>
                <a:lnTo>
                  <a:pt x="7143" y="794"/>
                </a:lnTo>
                <a:lnTo>
                  <a:pt x="2062162" y="0"/>
                </a:lnTo>
                <a:lnTo>
                  <a:pt x="2071687" y="9510"/>
                </a:lnTo>
                <a:lnTo>
                  <a:pt x="2202728" y="468913"/>
                </a:lnTo>
                <a:lnTo>
                  <a:pt x="2078831" y="927118"/>
                </a:lnTo>
                <a:lnTo>
                  <a:pt x="2071687" y="936627"/>
                </a:lnTo>
                <a:lnTo>
                  <a:pt x="2380" y="936626"/>
                </a:lnTo>
                <a:cubicBezTo>
                  <a:pt x="2380" y="932657"/>
                  <a:pt x="0" y="933443"/>
                  <a:pt x="0" y="929474"/>
                </a:cubicBezTo>
                <a:lnTo>
                  <a:pt x="133040" y="468913"/>
                </a:lnTo>
                <a:lnTo>
                  <a:pt x="4762" y="79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 smtClean="0">
                <a:solidFill>
                  <a:schemeClr val="tx1"/>
                </a:solidFill>
              </a:rPr>
              <a:t>Funktionale</a:t>
            </a:r>
          </a:p>
          <a:p>
            <a:pPr algn="ctr"/>
            <a:r>
              <a:rPr lang="de-DE" sz="1200" b="1" dirty="0" smtClean="0">
                <a:solidFill>
                  <a:schemeClr val="tx1"/>
                </a:solidFill>
              </a:rPr>
              <a:t>Architektur</a:t>
            </a:r>
          </a:p>
        </p:txBody>
      </p:sp>
      <p:sp>
        <p:nvSpPr>
          <p:cNvPr id="34" name="Inhaltsplatzhalter 2"/>
          <p:cNvSpPr txBox="1">
            <a:spLocks/>
          </p:cNvSpPr>
          <p:nvPr/>
        </p:nvSpPr>
        <p:spPr>
          <a:xfrm>
            <a:off x="1122982" y="2780928"/>
            <a:ext cx="199147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de-DE" sz="1200" dirty="0" smtClean="0"/>
              <a:t>10 min</a:t>
            </a:r>
            <a:endParaRPr lang="de-DE" sz="1200" dirty="0"/>
          </a:p>
        </p:txBody>
      </p:sp>
      <p:sp>
        <p:nvSpPr>
          <p:cNvPr id="52" name="Inhaltsplatzhalter 2"/>
          <p:cNvSpPr txBox="1">
            <a:spLocks/>
          </p:cNvSpPr>
          <p:nvPr/>
        </p:nvSpPr>
        <p:spPr>
          <a:xfrm>
            <a:off x="3253020" y="2780928"/>
            <a:ext cx="199147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de-DE" sz="1200" dirty="0" smtClean="0"/>
              <a:t>30 + 20 min</a:t>
            </a:r>
            <a:endParaRPr lang="de-DE" sz="1200" dirty="0"/>
          </a:p>
        </p:txBody>
      </p:sp>
      <p:sp>
        <p:nvSpPr>
          <p:cNvPr id="53" name="Inhaltsplatzhalter 2"/>
          <p:cNvSpPr txBox="1">
            <a:spLocks/>
          </p:cNvSpPr>
          <p:nvPr/>
        </p:nvSpPr>
        <p:spPr>
          <a:xfrm>
            <a:off x="5383058" y="2780928"/>
            <a:ext cx="199147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de-DE" sz="1200" dirty="0" smtClean="0"/>
              <a:t>15 min</a:t>
            </a:r>
            <a:endParaRPr lang="de-DE" sz="1200" dirty="0"/>
          </a:p>
        </p:txBody>
      </p:sp>
      <p:sp>
        <p:nvSpPr>
          <p:cNvPr id="54" name="Inhaltsplatzhalter 2"/>
          <p:cNvSpPr txBox="1">
            <a:spLocks/>
          </p:cNvSpPr>
          <p:nvPr/>
        </p:nvSpPr>
        <p:spPr>
          <a:xfrm>
            <a:off x="7513097" y="2780928"/>
            <a:ext cx="199147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de-DE" sz="1200" dirty="0" smtClean="0"/>
              <a:t>15 min</a:t>
            </a:r>
            <a:endParaRPr lang="de-DE" sz="1200" dirty="0"/>
          </a:p>
        </p:txBody>
      </p:sp>
      <p:sp>
        <p:nvSpPr>
          <p:cNvPr id="36" name="Eingekerbter Richtungspfeil 27"/>
          <p:cNvSpPr/>
          <p:nvPr/>
        </p:nvSpPr>
        <p:spPr>
          <a:xfrm>
            <a:off x="5382188" y="1655138"/>
            <a:ext cx="2202728" cy="938213"/>
          </a:xfrm>
          <a:custGeom>
            <a:avLst/>
            <a:gdLst>
              <a:gd name="connsiteX0" fmla="*/ 0 w 2200115"/>
              <a:gd name="connsiteY0" fmla="*/ 0 h 936104"/>
              <a:gd name="connsiteX1" fmla="*/ 2069688 w 2200115"/>
              <a:gd name="connsiteY1" fmla="*/ 0 h 936104"/>
              <a:gd name="connsiteX2" fmla="*/ 2200115 w 2200115"/>
              <a:gd name="connsiteY2" fmla="*/ 468052 h 936104"/>
              <a:gd name="connsiteX3" fmla="*/ 2069688 w 2200115"/>
              <a:gd name="connsiteY3" fmla="*/ 936104 h 936104"/>
              <a:gd name="connsiteX4" fmla="*/ 0 w 2200115"/>
              <a:gd name="connsiteY4" fmla="*/ 936104 h 936104"/>
              <a:gd name="connsiteX5" fmla="*/ 130427 w 2200115"/>
              <a:gd name="connsiteY5" fmla="*/ 468052 h 936104"/>
              <a:gd name="connsiteX6" fmla="*/ 0 w 2200115"/>
              <a:gd name="connsiteY6" fmla="*/ 0 h 936104"/>
              <a:gd name="connsiteX0" fmla="*/ 0 w 2200115"/>
              <a:gd name="connsiteY0" fmla="*/ 0 h 936104"/>
              <a:gd name="connsiteX1" fmla="*/ 2069688 w 2200115"/>
              <a:gd name="connsiteY1" fmla="*/ 0 h 936104"/>
              <a:gd name="connsiteX2" fmla="*/ 2200115 w 2200115"/>
              <a:gd name="connsiteY2" fmla="*/ 468052 h 936104"/>
              <a:gd name="connsiteX3" fmla="*/ 2069688 w 2200115"/>
              <a:gd name="connsiteY3" fmla="*/ 936104 h 936104"/>
              <a:gd name="connsiteX4" fmla="*/ 0 w 2200115"/>
              <a:gd name="connsiteY4" fmla="*/ 936104 h 936104"/>
              <a:gd name="connsiteX5" fmla="*/ 130427 w 2200115"/>
              <a:gd name="connsiteY5" fmla="*/ 468052 h 936104"/>
              <a:gd name="connsiteX6" fmla="*/ 2149 w 2200115"/>
              <a:gd name="connsiteY6" fmla="*/ 11839 h 936104"/>
              <a:gd name="connsiteX7" fmla="*/ 0 w 2200115"/>
              <a:gd name="connsiteY7" fmla="*/ 0 h 936104"/>
              <a:gd name="connsiteX0" fmla="*/ 0 w 2200115"/>
              <a:gd name="connsiteY0" fmla="*/ 67 h 936171"/>
              <a:gd name="connsiteX1" fmla="*/ 11674 w 2200115"/>
              <a:gd name="connsiteY1" fmla="*/ 0 h 936171"/>
              <a:gd name="connsiteX2" fmla="*/ 2069688 w 2200115"/>
              <a:gd name="connsiteY2" fmla="*/ 67 h 936171"/>
              <a:gd name="connsiteX3" fmla="*/ 2200115 w 2200115"/>
              <a:gd name="connsiteY3" fmla="*/ 468119 h 936171"/>
              <a:gd name="connsiteX4" fmla="*/ 2069688 w 2200115"/>
              <a:gd name="connsiteY4" fmla="*/ 936171 h 936171"/>
              <a:gd name="connsiteX5" fmla="*/ 0 w 2200115"/>
              <a:gd name="connsiteY5" fmla="*/ 936171 h 936171"/>
              <a:gd name="connsiteX6" fmla="*/ 130427 w 2200115"/>
              <a:gd name="connsiteY6" fmla="*/ 468119 h 936171"/>
              <a:gd name="connsiteX7" fmla="*/ 2149 w 2200115"/>
              <a:gd name="connsiteY7" fmla="*/ 11906 h 936171"/>
              <a:gd name="connsiteX8" fmla="*/ 0 w 2200115"/>
              <a:gd name="connsiteY8" fmla="*/ 67 h 936171"/>
              <a:gd name="connsiteX0" fmla="*/ 2149 w 2200115"/>
              <a:gd name="connsiteY0" fmla="*/ 11906 h 936171"/>
              <a:gd name="connsiteX1" fmla="*/ 11674 w 2200115"/>
              <a:gd name="connsiteY1" fmla="*/ 0 h 936171"/>
              <a:gd name="connsiteX2" fmla="*/ 2069688 w 2200115"/>
              <a:gd name="connsiteY2" fmla="*/ 67 h 936171"/>
              <a:gd name="connsiteX3" fmla="*/ 2200115 w 2200115"/>
              <a:gd name="connsiteY3" fmla="*/ 468119 h 936171"/>
              <a:gd name="connsiteX4" fmla="*/ 2069688 w 2200115"/>
              <a:gd name="connsiteY4" fmla="*/ 936171 h 936171"/>
              <a:gd name="connsiteX5" fmla="*/ 0 w 2200115"/>
              <a:gd name="connsiteY5" fmla="*/ 936171 h 936171"/>
              <a:gd name="connsiteX6" fmla="*/ 130427 w 2200115"/>
              <a:gd name="connsiteY6" fmla="*/ 468119 h 936171"/>
              <a:gd name="connsiteX7" fmla="*/ 2149 w 2200115"/>
              <a:gd name="connsiteY7" fmla="*/ 11906 h 936171"/>
              <a:gd name="connsiteX0" fmla="*/ 2381 w 2200347"/>
              <a:gd name="connsiteY0" fmla="*/ 11906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232 w 2200347"/>
              <a:gd name="connsiteY5" fmla="*/ 936171 h 936171"/>
              <a:gd name="connsiteX6" fmla="*/ 0 w 2200347"/>
              <a:gd name="connsiteY6" fmla="*/ 923926 h 936171"/>
              <a:gd name="connsiteX7" fmla="*/ 130659 w 2200347"/>
              <a:gd name="connsiteY7" fmla="*/ 468119 h 936171"/>
              <a:gd name="connsiteX8" fmla="*/ 2381 w 2200347"/>
              <a:gd name="connsiteY8" fmla="*/ 11906 h 936171"/>
              <a:gd name="connsiteX0" fmla="*/ 2381 w 2200347"/>
              <a:gd name="connsiteY0" fmla="*/ 11906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11906 w 2200347"/>
              <a:gd name="connsiteY5" fmla="*/ 935832 h 936171"/>
              <a:gd name="connsiteX6" fmla="*/ 232 w 2200347"/>
              <a:gd name="connsiteY6" fmla="*/ 936171 h 936171"/>
              <a:gd name="connsiteX7" fmla="*/ 0 w 2200347"/>
              <a:gd name="connsiteY7" fmla="*/ 923926 h 936171"/>
              <a:gd name="connsiteX8" fmla="*/ 130659 w 2200347"/>
              <a:gd name="connsiteY8" fmla="*/ 468119 h 936171"/>
              <a:gd name="connsiteX9" fmla="*/ 2381 w 2200347"/>
              <a:gd name="connsiteY9" fmla="*/ 11906 h 936171"/>
              <a:gd name="connsiteX0" fmla="*/ 2381 w 2200347"/>
              <a:gd name="connsiteY0" fmla="*/ 11906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11906 w 2200347"/>
              <a:gd name="connsiteY5" fmla="*/ 935832 h 936171"/>
              <a:gd name="connsiteX6" fmla="*/ 0 w 2200347"/>
              <a:gd name="connsiteY6" fmla="*/ 923926 h 936171"/>
              <a:gd name="connsiteX7" fmla="*/ 130659 w 2200347"/>
              <a:gd name="connsiteY7" fmla="*/ 468119 h 936171"/>
              <a:gd name="connsiteX8" fmla="*/ 2381 w 2200347"/>
              <a:gd name="connsiteY8" fmla="*/ 11906 h 936171"/>
              <a:gd name="connsiteX0" fmla="*/ 2381 w 2200347"/>
              <a:gd name="connsiteY0" fmla="*/ 7143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11906 w 2200347"/>
              <a:gd name="connsiteY5" fmla="*/ 935832 h 936171"/>
              <a:gd name="connsiteX6" fmla="*/ 0 w 2200347"/>
              <a:gd name="connsiteY6" fmla="*/ 923926 h 936171"/>
              <a:gd name="connsiteX7" fmla="*/ 130659 w 2200347"/>
              <a:gd name="connsiteY7" fmla="*/ 468119 h 936171"/>
              <a:gd name="connsiteX8" fmla="*/ 2381 w 2200347"/>
              <a:gd name="connsiteY8" fmla="*/ 7143 h 936171"/>
              <a:gd name="connsiteX0" fmla="*/ 2382 w 2200348"/>
              <a:gd name="connsiteY0" fmla="*/ 7143 h 936171"/>
              <a:gd name="connsiteX1" fmla="*/ 11907 w 2200348"/>
              <a:gd name="connsiteY1" fmla="*/ 0 h 936171"/>
              <a:gd name="connsiteX2" fmla="*/ 2069921 w 2200348"/>
              <a:gd name="connsiteY2" fmla="*/ 67 h 936171"/>
              <a:gd name="connsiteX3" fmla="*/ 2200348 w 2200348"/>
              <a:gd name="connsiteY3" fmla="*/ 468119 h 936171"/>
              <a:gd name="connsiteX4" fmla="*/ 2069921 w 2200348"/>
              <a:gd name="connsiteY4" fmla="*/ 936171 h 936171"/>
              <a:gd name="connsiteX5" fmla="*/ 0 w 2200348"/>
              <a:gd name="connsiteY5" fmla="*/ 935832 h 936171"/>
              <a:gd name="connsiteX6" fmla="*/ 1 w 2200348"/>
              <a:gd name="connsiteY6" fmla="*/ 923926 h 936171"/>
              <a:gd name="connsiteX7" fmla="*/ 130660 w 2200348"/>
              <a:gd name="connsiteY7" fmla="*/ 468119 h 936171"/>
              <a:gd name="connsiteX8" fmla="*/ 2382 w 2200348"/>
              <a:gd name="connsiteY8" fmla="*/ 7143 h 936171"/>
              <a:gd name="connsiteX0" fmla="*/ 2382 w 2200348"/>
              <a:gd name="connsiteY0" fmla="*/ 7143 h 936171"/>
              <a:gd name="connsiteX1" fmla="*/ 4763 w 2200348"/>
              <a:gd name="connsiteY1" fmla="*/ 0 h 936171"/>
              <a:gd name="connsiteX2" fmla="*/ 2069921 w 2200348"/>
              <a:gd name="connsiteY2" fmla="*/ 67 h 936171"/>
              <a:gd name="connsiteX3" fmla="*/ 2200348 w 2200348"/>
              <a:gd name="connsiteY3" fmla="*/ 468119 h 936171"/>
              <a:gd name="connsiteX4" fmla="*/ 2069921 w 2200348"/>
              <a:gd name="connsiteY4" fmla="*/ 936171 h 936171"/>
              <a:gd name="connsiteX5" fmla="*/ 0 w 2200348"/>
              <a:gd name="connsiteY5" fmla="*/ 935832 h 936171"/>
              <a:gd name="connsiteX6" fmla="*/ 1 w 2200348"/>
              <a:gd name="connsiteY6" fmla="*/ 923926 h 936171"/>
              <a:gd name="connsiteX7" fmla="*/ 130660 w 2200348"/>
              <a:gd name="connsiteY7" fmla="*/ 468119 h 936171"/>
              <a:gd name="connsiteX8" fmla="*/ 2382 w 2200348"/>
              <a:gd name="connsiteY8" fmla="*/ 7143 h 936171"/>
              <a:gd name="connsiteX0" fmla="*/ 4762 w 2202728"/>
              <a:gd name="connsiteY0" fmla="*/ 7143 h 936171"/>
              <a:gd name="connsiteX1" fmla="*/ 7143 w 2202728"/>
              <a:gd name="connsiteY1" fmla="*/ 0 h 936171"/>
              <a:gd name="connsiteX2" fmla="*/ 2072301 w 2202728"/>
              <a:gd name="connsiteY2" fmla="*/ 67 h 936171"/>
              <a:gd name="connsiteX3" fmla="*/ 2202728 w 2202728"/>
              <a:gd name="connsiteY3" fmla="*/ 468119 h 936171"/>
              <a:gd name="connsiteX4" fmla="*/ 2072301 w 2202728"/>
              <a:gd name="connsiteY4" fmla="*/ 936171 h 936171"/>
              <a:gd name="connsiteX5" fmla="*/ 2380 w 2202728"/>
              <a:gd name="connsiteY5" fmla="*/ 935832 h 936171"/>
              <a:gd name="connsiteX6" fmla="*/ 0 w 2202728"/>
              <a:gd name="connsiteY6" fmla="*/ 928680 h 936171"/>
              <a:gd name="connsiteX7" fmla="*/ 133040 w 2202728"/>
              <a:gd name="connsiteY7" fmla="*/ 468119 h 936171"/>
              <a:gd name="connsiteX8" fmla="*/ 4762 w 2202728"/>
              <a:gd name="connsiteY8" fmla="*/ 7143 h 936171"/>
              <a:gd name="connsiteX0" fmla="*/ 4762 w 2202728"/>
              <a:gd name="connsiteY0" fmla="*/ 7143 h 936171"/>
              <a:gd name="connsiteX1" fmla="*/ 7143 w 2202728"/>
              <a:gd name="connsiteY1" fmla="*/ 0 h 936171"/>
              <a:gd name="connsiteX2" fmla="*/ 2072301 w 2202728"/>
              <a:gd name="connsiteY2" fmla="*/ 67 h 936171"/>
              <a:gd name="connsiteX3" fmla="*/ 2202728 w 2202728"/>
              <a:gd name="connsiteY3" fmla="*/ 468119 h 936171"/>
              <a:gd name="connsiteX4" fmla="*/ 2072301 w 2202728"/>
              <a:gd name="connsiteY4" fmla="*/ 936171 h 936171"/>
              <a:gd name="connsiteX5" fmla="*/ 2062162 w 2202728"/>
              <a:gd name="connsiteY5" fmla="*/ 933456 h 936171"/>
              <a:gd name="connsiteX6" fmla="*/ 2380 w 2202728"/>
              <a:gd name="connsiteY6" fmla="*/ 935832 h 936171"/>
              <a:gd name="connsiteX7" fmla="*/ 0 w 2202728"/>
              <a:gd name="connsiteY7" fmla="*/ 928680 h 936171"/>
              <a:gd name="connsiteX8" fmla="*/ 133040 w 2202728"/>
              <a:gd name="connsiteY8" fmla="*/ 468119 h 936171"/>
              <a:gd name="connsiteX9" fmla="*/ 4762 w 2202728"/>
              <a:gd name="connsiteY9" fmla="*/ 7143 h 936171"/>
              <a:gd name="connsiteX0" fmla="*/ 4762 w 2202728"/>
              <a:gd name="connsiteY0" fmla="*/ 7143 h 936171"/>
              <a:gd name="connsiteX1" fmla="*/ 7143 w 2202728"/>
              <a:gd name="connsiteY1" fmla="*/ 0 h 936171"/>
              <a:gd name="connsiteX2" fmla="*/ 2072301 w 2202728"/>
              <a:gd name="connsiteY2" fmla="*/ 67 h 936171"/>
              <a:gd name="connsiteX3" fmla="*/ 2202728 w 2202728"/>
              <a:gd name="connsiteY3" fmla="*/ 468119 h 936171"/>
              <a:gd name="connsiteX4" fmla="*/ 2078831 w 2202728"/>
              <a:gd name="connsiteY4" fmla="*/ 926324 h 936171"/>
              <a:gd name="connsiteX5" fmla="*/ 2072301 w 2202728"/>
              <a:gd name="connsiteY5" fmla="*/ 936171 h 936171"/>
              <a:gd name="connsiteX6" fmla="*/ 2062162 w 2202728"/>
              <a:gd name="connsiteY6" fmla="*/ 933456 h 936171"/>
              <a:gd name="connsiteX7" fmla="*/ 2380 w 2202728"/>
              <a:gd name="connsiteY7" fmla="*/ 935832 h 936171"/>
              <a:gd name="connsiteX8" fmla="*/ 0 w 2202728"/>
              <a:gd name="connsiteY8" fmla="*/ 928680 h 936171"/>
              <a:gd name="connsiteX9" fmla="*/ 133040 w 2202728"/>
              <a:gd name="connsiteY9" fmla="*/ 468119 h 936171"/>
              <a:gd name="connsiteX10" fmla="*/ 4762 w 2202728"/>
              <a:gd name="connsiteY10" fmla="*/ 7143 h 936171"/>
              <a:gd name="connsiteX0" fmla="*/ 4762 w 2202728"/>
              <a:gd name="connsiteY0" fmla="*/ 7143 h 935832"/>
              <a:gd name="connsiteX1" fmla="*/ 7143 w 2202728"/>
              <a:gd name="connsiteY1" fmla="*/ 0 h 935832"/>
              <a:gd name="connsiteX2" fmla="*/ 2072301 w 2202728"/>
              <a:gd name="connsiteY2" fmla="*/ 67 h 935832"/>
              <a:gd name="connsiteX3" fmla="*/ 2202728 w 2202728"/>
              <a:gd name="connsiteY3" fmla="*/ 468119 h 935832"/>
              <a:gd name="connsiteX4" fmla="*/ 2078831 w 2202728"/>
              <a:gd name="connsiteY4" fmla="*/ 926324 h 935832"/>
              <a:gd name="connsiteX5" fmla="*/ 2062162 w 2202728"/>
              <a:gd name="connsiteY5" fmla="*/ 933456 h 935832"/>
              <a:gd name="connsiteX6" fmla="*/ 2380 w 2202728"/>
              <a:gd name="connsiteY6" fmla="*/ 935832 h 935832"/>
              <a:gd name="connsiteX7" fmla="*/ 0 w 2202728"/>
              <a:gd name="connsiteY7" fmla="*/ 928680 h 935832"/>
              <a:gd name="connsiteX8" fmla="*/ 133040 w 2202728"/>
              <a:gd name="connsiteY8" fmla="*/ 468119 h 935832"/>
              <a:gd name="connsiteX9" fmla="*/ 4762 w 2202728"/>
              <a:gd name="connsiteY9" fmla="*/ 7143 h 935832"/>
              <a:gd name="connsiteX0" fmla="*/ 4762 w 2202728"/>
              <a:gd name="connsiteY0" fmla="*/ 7143 h 935833"/>
              <a:gd name="connsiteX1" fmla="*/ 7143 w 2202728"/>
              <a:gd name="connsiteY1" fmla="*/ 0 h 935833"/>
              <a:gd name="connsiteX2" fmla="*/ 2072301 w 2202728"/>
              <a:gd name="connsiteY2" fmla="*/ 67 h 935833"/>
              <a:gd name="connsiteX3" fmla="*/ 2202728 w 2202728"/>
              <a:gd name="connsiteY3" fmla="*/ 468119 h 935833"/>
              <a:gd name="connsiteX4" fmla="*/ 2078831 w 2202728"/>
              <a:gd name="connsiteY4" fmla="*/ 926324 h 935833"/>
              <a:gd name="connsiteX5" fmla="*/ 2071687 w 2202728"/>
              <a:gd name="connsiteY5" fmla="*/ 935833 h 935833"/>
              <a:gd name="connsiteX6" fmla="*/ 2380 w 2202728"/>
              <a:gd name="connsiteY6" fmla="*/ 935832 h 935833"/>
              <a:gd name="connsiteX7" fmla="*/ 0 w 2202728"/>
              <a:gd name="connsiteY7" fmla="*/ 928680 h 935833"/>
              <a:gd name="connsiteX8" fmla="*/ 133040 w 2202728"/>
              <a:gd name="connsiteY8" fmla="*/ 468119 h 935833"/>
              <a:gd name="connsiteX9" fmla="*/ 4762 w 2202728"/>
              <a:gd name="connsiteY9" fmla="*/ 7143 h 935833"/>
              <a:gd name="connsiteX0" fmla="*/ 4762 w 2202728"/>
              <a:gd name="connsiteY0" fmla="*/ 7937 h 936627"/>
              <a:gd name="connsiteX1" fmla="*/ 7143 w 2202728"/>
              <a:gd name="connsiteY1" fmla="*/ 794 h 936627"/>
              <a:gd name="connsiteX2" fmla="*/ 2062162 w 2202728"/>
              <a:gd name="connsiteY2" fmla="*/ 0 h 936627"/>
              <a:gd name="connsiteX3" fmla="*/ 2072301 w 2202728"/>
              <a:gd name="connsiteY3" fmla="*/ 861 h 936627"/>
              <a:gd name="connsiteX4" fmla="*/ 2202728 w 2202728"/>
              <a:gd name="connsiteY4" fmla="*/ 468913 h 936627"/>
              <a:gd name="connsiteX5" fmla="*/ 2078831 w 2202728"/>
              <a:gd name="connsiteY5" fmla="*/ 927118 h 936627"/>
              <a:gd name="connsiteX6" fmla="*/ 2071687 w 2202728"/>
              <a:gd name="connsiteY6" fmla="*/ 936627 h 936627"/>
              <a:gd name="connsiteX7" fmla="*/ 2380 w 2202728"/>
              <a:gd name="connsiteY7" fmla="*/ 936626 h 936627"/>
              <a:gd name="connsiteX8" fmla="*/ 0 w 2202728"/>
              <a:gd name="connsiteY8" fmla="*/ 929474 h 936627"/>
              <a:gd name="connsiteX9" fmla="*/ 133040 w 2202728"/>
              <a:gd name="connsiteY9" fmla="*/ 468913 h 936627"/>
              <a:gd name="connsiteX10" fmla="*/ 4762 w 2202728"/>
              <a:gd name="connsiteY10" fmla="*/ 7937 h 936627"/>
              <a:gd name="connsiteX0" fmla="*/ 4762 w 2202728"/>
              <a:gd name="connsiteY0" fmla="*/ 7937 h 936627"/>
              <a:gd name="connsiteX1" fmla="*/ 7143 w 2202728"/>
              <a:gd name="connsiteY1" fmla="*/ 794 h 936627"/>
              <a:gd name="connsiteX2" fmla="*/ 2062162 w 2202728"/>
              <a:gd name="connsiteY2" fmla="*/ 0 h 936627"/>
              <a:gd name="connsiteX3" fmla="*/ 2072301 w 2202728"/>
              <a:gd name="connsiteY3" fmla="*/ 861 h 936627"/>
              <a:gd name="connsiteX4" fmla="*/ 2071687 w 2202728"/>
              <a:gd name="connsiteY4" fmla="*/ 9510 h 936627"/>
              <a:gd name="connsiteX5" fmla="*/ 2202728 w 2202728"/>
              <a:gd name="connsiteY5" fmla="*/ 468913 h 936627"/>
              <a:gd name="connsiteX6" fmla="*/ 2078831 w 2202728"/>
              <a:gd name="connsiteY6" fmla="*/ 927118 h 936627"/>
              <a:gd name="connsiteX7" fmla="*/ 2071687 w 2202728"/>
              <a:gd name="connsiteY7" fmla="*/ 936627 h 936627"/>
              <a:gd name="connsiteX8" fmla="*/ 2380 w 2202728"/>
              <a:gd name="connsiteY8" fmla="*/ 936626 h 936627"/>
              <a:gd name="connsiteX9" fmla="*/ 0 w 2202728"/>
              <a:gd name="connsiteY9" fmla="*/ 929474 h 936627"/>
              <a:gd name="connsiteX10" fmla="*/ 133040 w 2202728"/>
              <a:gd name="connsiteY10" fmla="*/ 468913 h 936627"/>
              <a:gd name="connsiteX11" fmla="*/ 4762 w 2202728"/>
              <a:gd name="connsiteY11" fmla="*/ 7937 h 936627"/>
              <a:gd name="connsiteX0" fmla="*/ 4762 w 2202728"/>
              <a:gd name="connsiteY0" fmla="*/ 7937 h 936627"/>
              <a:gd name="connsiteX1" fmla="*/ 7143 w 2202728"/>
              <a:gd name="connsiteY1" fmla="*/ 794 h 936627"/>
              <a:gd name="connsiteX2" fmla="*/ 2062162 w 2202728"/>
              <a:gd name="connsiteY2" fmla="*/ 0 h 936627"/>
              <a:gd name="connsiteX3" fmla="*/ 2071687 w 2202728"/>
              <a:gd name="connsiteY3" fmla="*/ 9510 h 936627"/>
              <a:gd name="connsiteX4" fmla="*/ 2202728 w 2202728"/>
              <a:gd name="connsiteY4" fmla="*/ 468913 h 936627"/>
              <a:gd name="connsiteX5" fmla="*/ 2078831 w 2202728"/>
              <a:gd name="connsiteY5" fmla="*/ 927118 h 936627"/>
              <a:gd name="connsiteX6" fmla="*/ 2071687 w 2202728"/>
              <a:gd name="connsiteY6" fmla="*/ 936627 h 936627"/>
              <a:gd name="connsiteX7" fmla="*/ 2380 w 2202728"/>
              <a:gd name="connsiteY7" fmla="*/ 936626 h 936627"/>
              <a:gd name="connsiteX8" fmla="*/ 0 w 2202728"/>
              <a:gd name="connsiteY8" fmla="*/ 929474 h 936627"/>
              <a:gd name="connsiteX9" fmla="*/ 133040 w 2202728"/>
              <a:gd name="connsiteY9" fmla="*/ 468913 h 936627"/>
              <a:gd name="connsiteX10" fmla="*/ 4762 w 2202728"/>
              <a:gd name="connsiteY10" fmla="*/ 7937 h 936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02728" h="936627">
                <a:moveTo>
                  <a:pt x="4762" y="7937"/>
                </a:moveTo>
                <a:lnTo>
                  <a:pt x="7143" y="794"/>
                </a:lnTo>
                <a:lnTo>
                  <a:pt x="2062162" y="0"/>
                </a:lnTo>
                <a:lnTo>
                  <a:pt x="2071687" y="9510"/>
                </a:lnTo>
                <a:lnTo>
                  <a:pt x="2202728" y="468913"/>
                </a:lnTo>
                <a:lnTo>
                  <a:pt x="2078831" y="927118"/>
                </a:lnTo>
                <a:lnTo>
                  <a:pt x="2071687" y="936627"/>
                </a:lnTo>
                <a:lnTo>
                  <a:pt x="2380" y="936626"/>
                </a:lnTo>
                <a:cubicBezTo>
                  <a:pt x="2380" y="932657"/>
                  <a:pt x="0" y="933443"/>
                  <a:pt x="0" y="929474"/>
                </a:cubicBezTo>
                <a:lnTo>
                  <a:pt x="133040" y="468913"/>
                </a:lnTo>
                <a:lnTo>
                  <a:pt x="4762" y="79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 smtClean="0">
                <a:solidFill>
                  <a:schemeClr val="tx1"/>
                </a:solidFill>
              </a:rPr>
              <a:t>Review existierende Anwendungen</a:t>
            </a:r>
          </a:p>
        </p:txBody>
      </p:sp>
      <p:sp>
        <p:nvSpPr>
          <p:cNvPr id="37" name="Eingekerbter Richtungspfeil 27"/>
          <p:cNvSpPr/>
          <p:nvPr/>
        </p:nvSpPr>
        <p:spPr>
          <a:xfrm>
            <a:off x="7513097" y="1655138"/>
            <a:ext cx="2202728" cy="938213"/>
          </a:xfrm>
          <a:custGeom>
            <a:avLst/>
            <a:gdLst>
              <a:gd name="connsiteX0" fmla="*/ 0 w 2200115"/>
              <a:gd name="connsiteY0" fmla="*/ 0 h 936104"/>
              <a:gd name="connsiteX1" fmla="*/ 2069688 w 2200115"/>
              <a:gd name="connsiteY1" fmla="*/ 0 h 936104"/>
              <a:gd name="connsiteX2" fmla="*/ 2200115 w 2200115"/>
              <a:gd name="connsiteY2" fmla="*/ 468052 h 936104"/>
              <a:gd name="connsiteX3" fmla="*/ 2069688 w 2200115"/>
              <a:gd name="connsiteY3" fmla="*/ 936104 h 936104"/>
              <a:gd name="connsiteX4" fmla="*/ 0 w 2200115"/>
              <a:gd name="connsiteY4" fmla="*/ 936104 h 936104"/>
              <a:gd name="connsiteX5" fmla="*/ 130427 w 2200115"/>
              <a:gd name="connsiteY5" fmla="*/ 468052 h 936104"/>
              <a:gd name="connsiteX6" fmla="*/ 0 w 2200115"/>
              <a:gd name="connsiteY6" fmla="*/ 0 h 936104"/>
              <a:gd name="connsiteX0" fmla="*/ 0 w 2200115"/>
              <a:gd name="connsiteY0" fmla="*/ 0 h 936104"/>
              <a:gd name="connsiteX1" fmla="*/ 2069688 w 2200115"/>
              <a:gd name="connsiteY1" fmla="*/ 0 h 936104"/>
              <a:gd name="connsiteX2" fmla="*/ 2200115 w 2200115"/>
              <a:gd name="connsiteY2" fmla="*/ 468052 h 936104"/>
              <a:gd name="connsiteX3" fmla="*/ 2069688 w 2200115"/>
              <a:gd name="connsiteY3" fmla="*/ 936104 h 936104"/>
              <a:gd name="connsiteX4" fmla="*/ 0 w 2200115"/>
              <a:gd name="connsiteY4" fmla="*/ 936104 h 936104"/>
              <a:gd name="connsiteX5" fmla="*/ 130427 w 2200115"/>
              <a:gd name="connsiteY5" fmla="*/ 468052 h 936104"/>
              <a:gd name="connsiteX6" fmla="*/ 2149 w 2200115"/>
              <a:gd name="connsiteY6" fmla="*/ 11839 h 936104"/>
              <a:gd name="connsiteX7" fmla="*/ 0 w 2200115"/>
              <a:gd name="connsiteY7" fmla="*/ 0 h 936104"/>
              <a:gd name="connsiteX0" fmla="*/ 0 w 2200115"/>
              <a:gd name="connsiteY0" fmla="*/ 67 h 936171"/>
              <a:gd name="connsiteX1" fmla="*/ 11674 w 2200115"/>
              <a:gd name="connsiteY1" fmla="*/ 0 h 936171"/>
              <a:gd name="connsiteX2" fmla="*/ 2069688 w 2200115"/>
              <a:gd name="connsiteY2" fmla="*/ 67 h 936171"/>
              <a:gd name="connsiteX3" fmla="*/ 2200115 w 2200115"/>
              <a:gd name="connsiteY3" fmla="*/ 468119 h 936171"/>
              <a:gd name="connsiteX4" fmla="*/ 2069688 w 2200115"/>
              <a:gd name="connsiteY4" fmla="*/ 936171 h 936171"/>
              <a:gd name="connsiteX5" fmla="*/ 0 w 2200115"/>
              <a:gd name="connsiteY5" fmla="*/ 936171 h 936171"/>
              <a:gd name="connsiteX6" fmla="*/ 130427 w 2200115"/>
              <a:gd name="connsiteY6" fmla="*/ 468119 h 936171"/>
              <a:gd name="connsiteX7" fmla="*/ 2149 w 2200115"/>
              <a:gd name="connsiteY7" fmla="*/ 11906 h 936171"/>
              <a:gd name="connsiteX8" fmla="*/ 0 w 2200115"/>
              <a:gd name="connsiteY8" fmla="*/ 67 h 936171"/>
              <a:gd name="connsiteX0" fmla="*/ 2149 w 2200115"/>
              <a:gd name="connsiteY0" fmla="*/ 11906 h 936171"/>
              <a:gd name="connsiteX1" fmla="*/ 11674 w 2200115"/>
              <a:gd name="connsiteY1" fmla="*/ 0 h 936171"/>
              <a:gd name="connsiteX2" fmla="*/ 2069688 w 2200115"/>
              <a:gd name="connsiteY2" fmla="*/ 67 h 936171"/>
              <a:gd name="connsiteX3" fmla="*/ 2200115 w 2200115"/>
              <a:gd name="connsiteY3" fmla="*/ 468119 h 936171"/>
              <a:gd name="connsiteX4" fmla="*/ 2069688 w 2200115"/>
              <a:gd name="connsiteY4" fmla="*/ 936171 h 936171"/>
              <a:gd name="connsiteX5" fmla="*/ 0 w 2200115"/>
              <a:gd name="connsiteY5" fmla="*/ 936171 h 936171"/>
              <a:gd name="connsiteX6" fmla="*/ 130427 w 2200115"/>
              <a:gd name="connsiteY6" fmla="*/ 468119 h 936171"/>
              <a:gd name="connsiteX7" fmla="*/ 2149 w 2200115"/>
              <a:gd name="connsiteY7" fmla="*/ 11906 h 936171"/>
              <a:gd name="connsiteX0" fmla="*/ 2381 w 2200347"/>
              <a:gd name="connsiteY0" fmla="*/ 11906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232 w 2200347"/>
              <a:gd name="connsiteY5" fmla="*/ 936171 h 936171"/>
              <a:gd name="connsiteX6" fmla="*/ 0 w 2200347"/>
              <a:gd name="connsiteY6" fmla="*/ 923926 h 936171"/>
              <a:gd name="connsiteX7" fmla="*/ 130659 w 2200347"/>
              <a:gd name="connsiteY7" fmla="*/ 468119 h 936171"/>
              <a:gd name="connsiteX8" fmla="*/ 2381 w 2200347"/>
              <a:gd name="connsiteY8" fmla="*/ 11906 h 936171"/>
              <a:gd name="connsiteX0" fmla="*/ 2381 w 2200347"/>
              <a:gd name="connsiteY0" fmla="*/ 11906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11906 w 2200347"/>
              <a:gd name="connsiteY5" fmla="*/ 935832 h 936171"/>
              <a:gd name="connsiteX6" fmla="*/ 232 w 2200347"/>
              <a:gd name="connsiteY6" fmla="*/ 936171 h 936171"/>
              <a:gd name="connsiteX7" fmla="*/ 0 w 2200347"/>
              <a:gd name="connsiteY7" fmla="*/ 923926 h 936171"/>
              <a:gd name="connsiteX8" fmla="*/ 130659 w 2200347"/>
              <a:gd name="connsiteY8" fmla="*/ 468119 h 936171"/>
              <a:gd name="connsiteX9" fmla="*/ 2381 w 2200347"/>
              <a:gd name="connsiteY9" fmla="*/ 11906 h 936171"/>
              <a:gd name="connsiteX0" fmla="*/ 2381 w 2200347"/>
              <a:gd name="connsiteY0" fmla="*/ 11906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11906 w 2200347"/>
              <a:gd name="connsiteY5" fmla="*/ 935832 h 936171"/>
              <a:gd name="connsiteX6" fmla="*/ 0 w 2200347"/>
              <a:gd name="connsiteY6" fmla="*/ 923926 h 936171"/>
              <a:gd name="connsiteX7" fmla="*/ 130659 w 2200347"/>
              <a:gd name="connsiteY7" fmla="*/ 468119 h 936171"/>
              <a:gd name="connsiteX8" fmla="*/ 2381 w 2200347"/>
              <a:gd name="connsiteY8" fmla="*/ 11906 h 936171"/>
              <a:gd name="connsiteX0" fmla="*/ 2381 w 2200347"/>
              <a:gd name="connsiteY0" fmla="*/ 7143 h 936171"/>
              <a:gd name="connsiteX1" fmla="*/ 11906 w 2200347"/>
              <a:gd name="connsiteY1" fmla="*/ 0 h 936171"/>
              <a:gd name="connsiteX2" fmla="*/ 2069920 w 2200347"/>
              <a:gd name="connsiteY2" fmla="*/ 67 h 936171"/>
              <a:gd name="connsiteX3" fmla="*/ 2200347 w 2200347"/>
              <a:gd name="connsiteY3" fmla="*/ 468119 h 936171"/>
              <a:gd name="connsiteX4" fmla="*/ 2069920 w 2200347"/>
              <a:gd name="connsiteY4" fmla="*/ 936171 h 936171"/>
              <a:gd name="connsiteX5" fmla="*/ 11906 w 2200347"/>
              <a:gd name="connsiteY5" fmla="*/ 935832 h 936171"/>
              <a:gd name="connsiteX6" fmla="*/ 0 w 2200347"/>
              <a:gd name="connsiteY6" fmla="*/ 923926 h 936171"/>
              <a:gd name="connsiteX7" fmla="*/ 130659 w 2200347"/>
              <a:gd name="connsiteY7" fmla="*/ 468119 h 936171"/>
              <a:gd name="connsiteX8" fmla="*/ 2381 w 2200347"/>
              <a:gd name="connsiteY8" fmla="*/ 7143 h 936171"/>
              <a:gd name="connsiteX0" fmla="*/ 2382 w 2200348"/>
              <a:gd name="connsiteY0" fmla="*/ 7143 h 936171"/>
              <a:gd name="connsiteX1" fmla="*/ 11907 w 2200348"/>
              <a:gd name="connsiteY1" fmla="*/ 0 h 936171"/>
              <a:gd name="connsiteX2" fmla="*/ 2069921 w 2200348"/>
              <a:gd name="connsiteY2" fmla="*/ 67 h 936171"/>
              <a:gd name="connsiteX3" fmla="*/ 2200348 w 2200348"/>
              <a:gd name="connsiteY3" fmla="*/ 468119 h 936171"/>
              <a:gd name="connsiteX4" fmla="*/ 2069921 w 2200348"/>
              <a:gd name="connsiteY4" fmla="*/ 936171 h 936171"/>
              <a:gd name="connsiteX5" fmla="*/ 0 w 2200348"/>
              <a:gd name="connsiteY5" fmla="*/ 935832 h 936171"/>
              <a:gd name="connsiteX6" fmla="*/ 1 w 2200348"/>
              <a:gd name="connsiteY6" fmla="*/ 923926 h 936171"/>
              <a:gd name="connsiteX7" fmla="*/ 130660 w 2200348"/>
              <a:gd name="connsiteY7" fmla="*/ 468119 h 936171"/>
              <a:gd name="connsiteX8" fmla="*/ 2382 w 2200348"/>
              <a:gd name="connsiteY8" fmla="*/ 7143 h 936171"/>
              <a:gd name="connsiteX0" fmla="*/ 2382 w 2200348"/>
              <a:gd name="connsiteY0" fmla="*/ 7143 h 936171"/>
              <a:gd name="connsiteX1" fmla="*/ 4763 w 2200348"/>
              <a:gd name="connsiteY1" fmla="*/ 0 h 936171"/>
              <a:gd name="connsiteX2" fmla="*/ 2069921 w 2200348"/>
              <a:gd name="connsiteY2" fmla="*/ 67 h 936171"/>
              <a:gd name="connsiteX3" fmla="*/ 2200348 w 2200348"/>
              <a:gd name="connsiteY3" fmla="*/ 468119 h 936171"/>
              <a:gd name="connsiteX4" fmla="*/ 2069921 w 2200348"/>
              <a:gd name="connsiteY4" fmla="*/ 936171 h 936171"/>
              <a:gd name="connsiteX5" fmla="*/ 0 w 2200348"/>
              <a:gd name="connsiteY5" fmla="*/ 935832 h 936171"/>
              <a:gd name="connsiteX6" fmla="*/ 1 w 2200348"/>
              <a:gd name="connsiteY6" fmla="*/ 923926 h 936171"/>
              <a:gd name="connsiteX7" fmla="*/ 130660 w 2200348"/>
              <a:gd name="connsiteY7" fmla="*/ 468119 h 936171"/>
              <a:gd name="connsiteX8" fmla="*/ 2382 w 2200348"/>
              <a:gd name="connsiteY8" fmla="*/ 7143 h 936171"/>
              <a:gd name="connsiteX0" fmla="*/ 4762 w 2202728"/>
              <a:gd name="connsiteY0" fmla="*/ 7143 h 936171"/>
              <a:gd name="connsiteX1" fmla="*/ 7143 w 2202728"/>
              <a:gd name="connsiteY1" fmla="*/ 0 h 936171"/>
              <a:gd name="connsiteX2" fmla="*/ 2072301 w 2202728"/>
              <a:gd name="connsiteY2" fmla="*/ 67 h 936171"/>
              <a:gd name="connsiteX3" fmla="*/ 2202728 w 2202728"/>
              <a:gd name="connsiteY3" fmla="*/ 468119 h 936171"/>
              <a:gd name="connsiteX4" fmla="*/ 2072301 w 2202728"/>
              <a:gd name="connsiteY4" fmla="*/ 936171 h 936171"/>
              <a:gd name="connsiteX5" fmla="*/ 2380 w 2202728"/>
              <a:gd name="connsiteY5" fmla="*/ 935832 h 936171"/>
              <a:gd name="connsiteX6" fmla="*/ 0 w 2202728"/>
              <a:gd name="connsiteY6" fmla="*/ 928680 h 936171"/>
              <a:gd name="connsiteX7" fmla="*/ 133040 w 2202728"/>
              <a:gd name="connsiteY7" fmla="*/ 468119 h 936171"/>
              <a:gd name="connsiteX8" fmla="*/ 4762 w 2202728"/>
              <a:gd name="connsiteY8" fmla="*/ 7143 h 936171"/>
              <a:gd name="connsiteX0" fmla="*/ 4762 w 2202728"/>
              <a:gd name="connsiteY0" fmla="*/ 7143 h 936171"/>
              <a:gd name="connsiteX1" fmla="*/ 7143 w 2202728"/>
              <a:gd name="connsiteY1" fmla="*/ 0 h 936171"/>
              <a:gd name="connsiteX2" fmla="*/ 2072301 w 2202728"/>
              <a:gd name="connsiteY2" fmla="*/ 67 h 936171"/>
              <a:gd name="connsiteX3" fmla="*/ 2202728 w 2202728"/>
              <a:gd name="connsiteY3" fmla="*/ 468119 h 936171"/>
              <a:gd name="connsiteX4" fmla="*/ 2072301 w 2202728"/>
              <a:gd name="connsiteY4" fmla="*/ 936171 h 936171"/>
              <a:gd name="connsiteX5" fmla="*/ 2062162 w 2202728"/>
              <a:gd name="connsiteY5" fmla="*/ 933456 h 936171"/>
              <a:gd name="connsiteX6" fmla="*/ 2380 w 2202728"/>
              <a:gd name="connsiteY6" fmla="*/ 935832 h 936171"/>
              <a:gd name="connsiteX7" fmla="*/ 0 w 2202728"/>
              <a:gd name="connsiteY7" fmla="*/ 928680 h 936171"/>
              <a:gd name="connsiteX8" fmla="*/ 133040 w 2202728"/>
              <a:gd name="connsiteY8" fmla="*/ 468119 h 936171"/>
              <a:gd name="connsiteX9" fmla="*/ 4762 w 2202728"/>
              <a:gd name="connsiteY9" fmla="*/ 7143 h 936171"/>
              <a:gd name="connsiteX0" fmla="*/ 4762 w 2202728"/>
              <a:gd name="connsiteY0" fmla="*/ 7143 h 936171"/>
              <a:gd name="connsiteX1" fmla="*/ 7143 w 2202728"/>
              <a:gd name="connsiteY1" fmla="*/ 0 h 936171"/>
              <a:gd name="connsiteX2" fmla="*/ 2072301 w 2202728"/>
              <a:gd name="connsiteY2" fmla="*/ 67 h 936171"/>
              <a:gd name="connsiteX3" fmla="*/ 2202728 w 2202728"/>
              <a:gd name="connsiteY3" fmla="*/ 468119 h 936171"/>
              <a:gd name="connsiteX4" fmla="*/ 2078831 w 2202728"/>
              <a:gd name="connsiteY4" fmla="*/ 926324 h 936171"/>
              <a:gd name="connsiteX5" fmla="*/ 2072301 w 2202728"/>
              <a:gd name="connsiteY5" fmla="*/ 936171 h 936171"/>
              <a:gd name="connsiteX6" fmla="*/ 2062162 w 2202728"/>
              <a:gd name="connsiteY6" fmla="*/ 933456 h 936171"/>
              <a:gd name="connsiteX7" fmla="*/ 2380 w 2202728"/>
              <a:gd name="connsiteY7" fmla="*/ 935832 h 936171"/>
              <a:gd name="connsiteX8" fmla="*/ 0 w 2202728"/>
              <a:gd name="connsiteY8" fmla="*/ 928680 h 936171"/>
              <a:gd name="connsiteX9" fmla="*/ 133040 w 2202728"/>
              <a:gd name="connsiteY9" fmla="*/ 468119 h 936171"/>
              <a:gd name="connsiteX10" fmla="*/ 4762 w 2202728"/>
              <a:gd name="connsiteY10" fmla="*/ 7143 h 936171"/>
              <a:gd name="connsiteX0" fmla="*/ 4762 w 2202728"/>
              <a:gd name="connsiteY0" fmla="*/ 7143 h 935832"/>
              <a:gd name="connsiteX1" fmla="*/ 7143 w 2202728"/>
              <a:gd name="connsiteY1" fmla="*/ 0 h 935832"/>
              <a:gd name="connsiteX2" fmla="*/ 2072301 w 2202728"/>
              <a:gd name="connsiteY2" fmla="*/ 67 h 935832"/>
              <a:gd name="connsiteX3" fmla="*/ 2202728 w 2202728"/>
              <a:gd name="connsiteY3" fmla="*/ 468119 h 935832"/>
              <a:gd name="connsiteX4" fmla="*/ 2078831 w 2202728"/>
              <a:gd name="connsiteY4" fmla="*/ 926324 h 935832"/>
              <a:gd name="connsiteX5" fmla="*/ 2062162 w 2202728"/>
              <a:gd name="connsiteY5" fmla="*/ 933456 h 935832"/>
              <a:gd name="connsiteX6" fmla="*/ 2380 w 2202728"/>
              <a:gd name="connsiteY6" fmla="*/ 935832 h 935832"/>
              <a:gd name="connsiteX7" fmla="*/ 0 w 2202728"/>
              <a:gd name="connsiteY7" fmla="*/ 928680 h 935832"/>
              <a:gd name="connsiteX8" fmla="*/ 133040 w 2202728"/>
              <a:gd name="connsiteY8" fmla="*/ 468119 h 935832"/>
              <a:gd name="connsiteX9" fmla="*/ 4762 w 2202728"/>
              <a:gd name="connsiteY9" fmla="*/ 7143 h 935832"/>
              <a:gd name="connsiteX0" fmla="*/ 4762 w 2202728"/>
              <a:gd name="connsiteY0" fmla="*/ 7143 h 935833"/>
              <a:gd name="connsiteX1" fmla="*/ 7143 w 2202728"/>
              <a:gd name="connsiteY1" fmla="*/ 0 h 935833"/>
              <a:gd name="connsiteX2" fmla="*/ 2072301 w 2202728"/>
              <a:gd name="connsiteY2" fmla="*/ 67 h 935833"/>
              <a:gd name="connsiteX3" fmla="*/ 2202728 w 2202728"/>
              <a:gd name="connsiteY3" fmla="*/ 468119 h 935833"/>
              <a:gd name="connsiteX4" fmla="*/ 2078831 w 2202728"/>
              <a:gd name="connsiteY4" fmla="*/ 926324 h 935833"/>
              <a:gd name="connsiteX5" fmla="*/ 2071687 w 2202728"/>
              <a:gd name="connsiteY5" fmla="*/ 935833 h 935833"/>
              <a:gd name="connsiteX6" fmla="*/ 2380 w 2202728"/>
              <a:gd name="connsiteY6" fmla="*/ 935832 h 935833"/>
              <a:gd name="connsiteX7" fmla="*/ 0 w 2202728"/>
              <a:gd name="connsiteY7" fmla="*/ 928680 h 935833"/>
              <a:gd name="connsiteX8" fmla="*/ 133040 w 2202728"/>
              <a:gd name="connsiteY8" fmla="*/ 468119 h 935833"/>
              <a:gd name="connsiteX9" fmla="*/ 4762 w 2202728"/>
              <a:gd name="connsiteY9" fmla="*/ 7143 h 935833"/>
              <a:gd name="connsiteX0" fmla="*/ 4762 w 2202728"/>
              <a:gd name="connsiteY0" fmla="*/ 7937 h 936627"/>
              <a:gd name="connsiteX1" fmla="*/ 7143 w 2202728"/>
              <a:gd name="connsiteY1" fmla="*/ 794 h 936627"/>
              <a:gd name="connsiteX2" fmla="*/ 2062162 w 2202728"/>
              <a:gd name="connsiteY2" fmla="*/ 0 h 936627"/>
              <a:gd name="connsiteX3" fmla="*/ 2072301 w 2202728"/>
              <a:gd name="connsiteY3" fmla="*/ 861 h 936627"/>
              <a:gd name="connsiteX4" fmla="*/ 2202728 w 2202728"/>
              <a:gd name="connsiteY4" fmla="*/ 468913 h 936627"/>
              <a:gd name="connsiteX5" fmla="*/ 2078831 w 2202728"/>
              <a:gd name="connsiteY5" fmla="*/ 927118 h 936627"/>
              <a:gd name="connsiteX6" fmla="*/ 2071687 w 2202728"/>
              <a:gd name="connsiteY6" fmla="*/ 936627 h 936627"/>
              <a:gd name="connsiteX7" fmla="*/ 2380 w 2202728"/>
              <a:gd name="connsiteY7" fmla="*/ 936626 h 936627"/>
              <a:gd name="connsiteX8" fmla="*/ 0 w 2202728"/>
              <a:gd name="connsiteY8" fmla="*/ 929474 h 936627"/>
              <a:gd name="connsiteX9" fmla="*/ 133040 w 2202728"/>
              <a:gd name="connsiteY9" fmla="*/ 468913 h 936627"/>
              <a:gd name="connsiteX10" fmla="*/ 4762 w 2202728"/>
              <a:gd name="connsiteY10" fmla="*/ 7937 h 936627"/>
              <a:gd name="connsiteX0" fmla="*/ 4762 w 2202728"/>
              <a:gd name="connsiteY0" fmla="*/ 7937 h 936627"/>
              <a:gd name="connsiteX1" fmla="*/ 7143 w 2202728"/>
              <a:gd name="connsiteY1" fmla="*/ 794 h 936627"/>
              <a:gd name="connsiteX2" fmla="*/ 2062162 w 2202728"/>
              <a:gd name="connsiteY2" fmla="*/ 0 h 936627"/>
              <a:gd name="connsiteX3" fmla="*/ 2072301 w 2202728"/>
              <a:gd name="connsiteY3" fmla="*/ 861 h 936627"/>
              <a:gd name="connsiteX4" fmla="*/ 2071687 w 2202728"/>
              <a:gd name="connsiteY4" fmla="*/ 9510 h 936627"/>
              <a:gd name="connsiteX5" fmla="*/ 2202728 w 2202728"/>
              <a:gd name="connsiteY5" fmla="*/ 468913 h 936627"/>
              <a:gd name="connsiteX6" fmla="*/ 2078831 w 2202728"/>
              <a:gd name="connsiteY6" fmla="*/ 927118 h 936627"/>
              <a:gd name="connsiteX7" fmla="*/ 2071687 w 2202728"/>
              <a:gd name="connsiteY7" fmla="*/ 936627 h 936627"/>
              <a:gd name="connsiteX8" fmla="*/ 2380 w 2202728"/>
              <a:gd name="connsiteY8" fmla="*/ 936626 h 936627"/>
              <a:gd name="connsiteX9" fmla="*/ 0 w 2202728"/>
              <a:gd name="connsiteY9" fmla="*/ 929474 h 936627"/>
              <a:gd name="connsiteX10" fmla="*/ 133040 w 2202728"/>
              <a:gd name="connsiteY10" fmla="*/ 468913 h 936627"/>
              <a:gd name="connsiteX11" fmla="*/ 4762 w 2202728"/>
              <a:gd name="connsiteY11" fmla="*/ 7937 h 936627"/>
              <a:gd name="connsiteX0" fmla="*/ 4762 w 2202728"/>
              <a:gd name="connsiteY0" fmla="*/ 7937 h 936627"/>
              <a:gd name="connsiteX1" fmla="*/ 7143 w 2202728"/>
              <a:gd name="connsiteY1" fmla="*/ 794 h 936627"/>
              <a:gd name="connsiteX2" fmla="*/ 2062162 w 2202728"/>
              <a:gd name="connsiteY2" fmla="*/ 0 h 936627"/>
              <a:gd name="connsiteX3" fmla="*/ 2071687 w 2202728"/>
              <a:gd name="connsiteY3" fmla="*/ 9510 h 936627"/>
              <a:gd name="connsiteX4" fmla="*/ 2202728 w 2202728"/>
              <a:gd name="connsiteY4" fmla="*/ 468913 h 936627"/>
              <a:gd name="connsiteX5" fmla="*/ 2078831 w 2202728"/>
              <a:gd name="connsiteY5" fmla="*/ 927118 h 936627"/>
              <a:gd name="connsiteX6" fmla="*/ 2071687 w 2202728"/>
              <a:gd name="connsiteY6" fmla="*/ 936627 h 936627"/>
              <a:gd name="connsiteX7" fmla="*/ 2380 w 2202728"/>
              <a:gd name="connsiteY7" fmla="*/ 936626 h 936627"/>
              <a:gd name="connsiteX8" fmla="*/ 0 w 2202728"/>
              <a:gd name="connsiteY8" fmla="*/ 929474 h 936627"/>
              <a:gd name="connsiteX9" fmla="*/ 133040 w 2202728"/>
              <a:gd name="connsiteY9" fmla="*/ 468913 h 936627"/>
              <a:gd name="connsiteX10" fmla="*/ 4762 w 2202728"/>
              <a:gd name="connsiteY10" fmla="*/ 7937 h 936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02728" h="936627">
                <a:moveTo>
                  <a:pt x="4762" y="7937"/>
                </a:moveTo>
                <a:lnTo>
                  <a:pt x="7143" y="794"/>
                </a:lnTo>
                <a:lnTo>
                  <a:pt x="2062162" y="0"/>
                </a:lnTo>
                <a:lnTo>
                  <a:pt x="2071687" y="9510"/>
                </a:lnTo>
                <a:lnTo>
                  <a:pt x="2202728" y="468913"/>
                </a:lnTo>
                <a:lnTo>
                  <a:pt x="2078831" y="927118"/>
                </a:lnTo>
                <a:lnTo>
                  <a:pt x="2071687" y="936627"/>
                </a:lnTo>
                <a:lnTo>
                  <a:pt x="2380" y="936626"/>
                </a:lnTo>
                <a:cubicBezTo>
                  <a:pt x="2380" y="932657"/>
                  <a:pt x="0" y="933443"/>
                  <a:pt x="0" y="929474"/>
                </a:cubicBezTo>
                <a:lnTo>
                  <a:pt x="133040" y="468913"/>
                </a:lnTo>
                <a:lnTo>
                  <a:pt x="4762" y="79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 smtClean="0">
                <a:solidFill>
                  <a:schemeClr val="tx1"/>
                </a:solidFill>
              </a:rPr>
              <a:t>Zusammenarbeitsmodell</a:t>
            </a:r>
          </a:p>
        </p:txBody>
      </p:sp>
    </p:spTree>
    <p:extLst>
      <p:ext uri="{BB962C8B-B14F-4D97-AF65-F5344CB8AC3E}">
        <p14:creationId xmlns:p14="http://schemas.microsoft.com/office/powerpoint/2010/main" val="2114441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23.09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194338" y="765175"/>
            <a:ext cx="9517327" cy="36933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0" name="Inhaltsplatzhalter 8"/>
          <p:cNvSpPr txBox="1">
            <a:spLocks/>
          </p:cNvSpPr>
          <p:nvPr/>
        </p:nvSpPr>
        <p:spPr>
          <a:xfrm>
            <a:off x="189243" y="1596213"/>
            <a:ext cx="9527513" cy="4565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5390" y="5949"/>
            <a:ext cx="9906000" cy="6874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34" y="44624"/>
            <a:ext cx="636079" cy="174491"/>
          </a:xfrm>
          <a:prstGeom prst="rect">
            <a:avLst/>
          </a:prstGeom>
        </p:spPr>
      </p:pic>
      <p:sp>
        <p:nvSpPr>
          <p:cNvPr id="17" name="Inhaltsplatzhalter 8"/>
          <p:cNvSpPr txBox="1">
            <a:spLocks/>
          </p:cNvSpPr>
          <p:nvPr/>
        </p:nvSpPr>
        <p:spPr>
          <a:xfrm>
            <a:off x="341643" y="980728"/>
            <a:ext cx="4251317" cy="43088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600"/>
              </a:spcBef>
            </a:pP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cases</a:t>
            </a:r>
            <a:endParaRPr lang="de-DE" sz="1600" dirty="0" smtClean="0"/>
          </a:p>
          <a:p>
            <a:pPr marL="342900" lvl="1" indent="-342900">
              <a:spcBef>
                <a:spcPts val="3600"/>
              </a:spcBef>
              <a:buFont typeface="+mj-lt"/>
              <a:buAutoNum type="arabicPeriod"/>
            </a:pPr>
            <a:r>
              <a:rPr lang="de-DE" sz="1600" dirty="0" smtClean="0"/>
              <a:t>Register</a:t>
            </a:r>
            <a:r>
              <a:rPr lang="de-DE" sz="1600" baseline="30000" dirty="0" smtClean="0"/>
              <a:t>1</a:t>
            </a:r>
            <a:r>
              <a:rPr lang="de-DE" sz="1600" dirty="0" smtClean="0"/>
              <a:t> + </a:t>
            </a:r>
            <a:r>
              <a:rPr lang="de-DE" sz="1600" dirty="0" err="1"/>
              <a:t>p</a:t>
            </a:r>
            <a:r>
              <a:rPr lang="de-DE" sz="1600" dirty="0" err="1" smtClean="0"/>
              <a:t>ublish</a:t>
            </a:r>
            <a:r>
              <a:rPr lang="de-DE" sz="1600" dirty="0" smtClean="0"/>
              <a:t> + LZA + web </a:t>
            </a:r>
            <a:r>
              <a:rPr lang="de-DE" sz="1600" dirty="0" err="1" smtClean="0"/>
              <a:t>presentation</a:t>
            </a:r>
            <a:r>
              <a:rPr lang="de-DE" sz="1600" dirty="0" smtClean="0"/>
              <a:t> + </a:t>
            </a:r>
            <a:r>
              <a:rPr lang="de-DE" sz="1600" dirty="0" err="1" smtClean="0"/>
              <a:t>publication</a:t>
            </a:r>
            <a:r>
              <a:rPr lang="de-DE" sz="1600" dirty="0" smtClean="0"/>
              <a:t> </a:t>
            </a:r>
            <a:r>
              <a:rPr lang="de-DE" sz="1600" dirty="0" err="1" smtClean="0"/>
              <a:t>marketing</a:t>
            </a:r>
            <a:endParaRPr lang="de-DE" sz="1600" dirty="0" smtClean="0"/>
          </a:p>
          <a:p>
            <a:pPr marL="342900" lvl="1" indent="-342900">
              <a:spcBef>
                <a:spcPts val="3600"/>
              </a:spcBef>
              <a:buFont typeface="+mj-lt"/>
              <a:buAutoNum type="arabicPeriod"/>
            </a:pPr>
            <a:r>
              <a:rPr lang="de-DE" sz="1600" dirty="0" smtClean="0"/>
              <a:t>Big </a:t>
            </a:r>
            <a:r>
              <a:rPr lang="de-DE" sz="1600" dirty="0" err="1" smtClean="0"/>
              <a:t>scientific</a:t>
            </a:r>
            <a:r>
              <a:rPr lang="de-DE" sz="1600" dirty="0" smtClean="0"/>
              <a:t> </a:t>
            </a:r>
            <a:r>
              <a:rPr lang="de-DE" sz="1600" dirty="0" err="1" smtClean="0"/>
              <a:t>working</a:t>
            </a:r>
            <a:r>
              <a:rPr lang="de-DE" sz="1600" dirty="0" smtClean="0"/>
              <a:t> </a:t>
            </a:r>
            <a:r>
              <a:rPr lang="de-DE" sz="1600" dirty="0" err="1" smtClean="0"/>
              <a:t>platform</a:t>
            </a:r>
            <a:r>
              <a:rPr lang="de-DE" sz="1600" dirty="0"/>
              <a:t/>
            </a:r>
            <a:br>
              <a:rPr lang="de-DE" sz="1600" dirty="0"/>
            </a:br>
            <a:r>
              <a:rPr lang="de-DE" sz="1600" dirty="0" smtClean="0"/>
              <a:t>(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large </a:t>
            </a:r>
            <a:r>
              <a:rPr lang="de-DE" sz="1600" dirty="0" err="1" smtClean="0"/>
              <a:t>for</a:t>
            </a:r>
            <a:r>
              <a:rPr lang="de-DE" sz="1600" dirty="0" smtClean="0"/>
              <a:t> network</a:t>
            </a:r>
            <a:r>
              <a:rPr lang="de-DE" sz="1600" baseline="30000" dirty="0" smtClean="0"/>
              <a:t>2</a:t>
            </a:r>
            <a:r>
              <a:rPr lang="de-DE" sz="1600" dirty="0" smtClean="0"/>
              <a:t> live </a:t>
            </a:r>
            <a:r>
              <a:rPr lang="de-DE" sz="1600" dirty="0" err="1" smtClean="0"/>
              <a:t>work</a:t>
            </a:r>
            <a:r>
              <a:rPr lang="de-DE" sz="1600" dirty="0" smtClean="0"/>
              <a:t>) </a:t>
            </a:r>
          </a:p>
          <a:p>
            <a:pPr marL="342900" lvl="1" indent="-342900">
              <a:spcBef>
                <a:spcPts val="3600"/>
              </a:spcBef>
              <a:buFont typeface="+mj-lt"/>
              <a:buAutoNum type="arabicPeriod"/>
            </a:pPr>
            <a:r>
              <a:rPr lang="de-DE" sz="1600" dirty="0" smtClean="0"/>
              <a:t>Small </a:t>
            </a:r>
            <a:r>
              <a:rPr lang="de-DE" sz="1600" dirty="0" err="1"/>
              <a:t>s</a:t>
            </a:r>
            <a:r>
              <a:rPr lang="de-DE" sz="1600" dirty="0" err="1" smtClean="0"/>
              <a:t>cientifc</a:t>
            </a:r>
            <a:r>
              <a:rPr lang="de-DE" sz="1600" dirty="0" smtClean="0"/>
              <a:t> </a:t>
            </a:r>
            <a:r>
              <a:rPr lang="de-DE" sz="1600" dirty="0" err="1" smtClean="0"/>
              <a:t>working</a:t>
            </a:r>
            <a:r>
              <a:rPr lang="de-DE" sz="1600" dirty="0" smtClean="0"/>
              <a:t> </a:t>
            </a:r>
            <a:r>
              <a:rPr lang="de-DE" sz="1600" dirty="0" err="1" smtClean="0"/>
              <a:t>platform</a:t>
            </a:r>
            <a:r>
              <a:rPr lang="de-DE" sz="1600" dirty="0"/>
              <a:t/>
            </a:r>
            <a:br>
              <a:rPr lang="de-DE" sz="1600" dirty="0"/>
            </a:br>
            <a:r>
              <a:rPr lang="de-DE" sz="1600" dirty="0" smtClean="0"/>
              <a:t>(„GSH style“, GUI-</a:t>
            </a:r>
            <a:r>
              <a:rPr lang="de-DE" sz="1600" dirty="0" err="1" smtClean="0"/>
              <a:t>focused</a:t>
            </a:r>
            <a:r>
              <a:rPr lang="de-DE" sz="1600" dirty="0" smtClean="0"/>
              <a:t>)</a:t>
            </a:r>
          </a:p>
          <a:p>
            <a:pPr marL="342900" lvl="1" indent="-342900">
              <a:spcBef>
                <a:spcPts val="3600"/>
              </a:spcBef>
              <a:buFont typeface="+mj-lt"/>
              <a:buAutoNum type="arabicPeriod"/>
            </a:pPr>
            <a:r>
              <a:rPr lang="de-DE" sz="1600" dirty="0" smtClean="0"/>
              <a:t>Office </a:t>
            </a:r>
            <a:r>
              <a:rPr lang="de-DE" sz="1600" dirty="0" err="1" smtClean="0"/>
              <a:t>working</a:t>
            </a:r>
            <a:r>
              <a:rPr lang="de-DE" sz="1600" dirty="0" smtClean="0"/>
              <a:t> </a:t>
            </a:r>
            <a:r>
              <a:rPr lang="de-DE" sz="1600" dirty="0" err="1" smtClean="0"/>
              <a:t>platform</a:t>
            </a:r>
            <a:r>
              <a:rPr lang="de-DE" sz="1600" dirty="0"/>
              <a:t/>
            </a:r>
            <a:br>
              <a:rPr lang="de-DE" sz="1600" dirty="0"/>
            </a:br>
            <a:r>
              <a:rPr lang="de-DE" sz="1600" dirty="0" smtClean="0"/>
              <a:t>(</a:t>
            </a:r>
            <a:r>
              <a:rPr lang="de-DE" sz="1600" dirty="0" err="1" smtClean="0"/>
              <a:t>media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ocument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sharing</a:t>
            </a:r>
            <a:r>
              <a:rPr lang="de-DE" sz="1600" dirty="0" smtClean="0"/>
              <a:t>)</a:t>
            </a:r>
            <a:endParaRPr lang="de-DE" sz="1600" dirty="0"/>
          </a:p>
        </p:txBody>
      </p:sp>
      <p:sp>
        <p:nvSpPr>
          <p:cNvPr id="18" name="Textplatzhalter 7"/>
          <p:cNvSpPr txBox="1">
            <a:spLocks/>
          </p:cNvSpPr>
          <p:nvPr/>
        </p:nvSpPr>
        <p:spPr>
          <a:xfrm>
            <a:off x="200025" y="6333182"/>
            <a:ext cx="9516731" cy="30264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6088" indent="-446088">
              <a:tabLst>
                <a:tab pos="384175" algn="r"/>
                <a:tab pos="460375" algn="l"/>
              </a:tabLst>
            </a:pPr>
            <a:r>
              <a:rPr lang="de-DE" sz="900" dirty="0" smtClean="0"/>
              <a:t>	1	DOI, </a:t>
            </a:r>
            <a:r>
              <a:rPr lang="de-DE" sz="900" dirty="0" err="1" smtClean="0"/>
              <a:t>Timestamp</a:t>
            </a:r>
            <a:r>
              <a:rPr lang="de-DE" sz="900" dirty="0" smtClean="0"/>
              <a:t>, </a:t>
            </a:r>
            <a:r>
              <a:rPr lang="de-DE" sz="900" dirty="0" err="1" smtClean="0"/>
              <a:t>Author</a:t>
            </a:r>
            <a:r>
              <a:rPr lang="de-DE" sz="900" dirty="0" smtClean="0"/>
              <a:t>, Affiliation, Title, evtl. Description </a:t>
            </a:r>
            <a:r>
              <a:rPr lang="de-DE" sz="900" dirty="0" err="1" smtClean="0"/>
              <a:t>or</a:t>
            </a:r>
            <a:r>
              <a:rPr lang="de-DE" sz="900" dirty="0" smtClean="0"/>
              <a:t> Abstract</a:t>
            </a:r>
          </a:p>
          <a:p>
            <a:pPr marL="446088" indent="-446088">
              <a:tabLst>
                <a:tab pos="384175" algn="r"/>
                <a:tab pos="460375" algn="l"/>
              </a:tabLst>
            </a:pPr>
            <a:r>
              <a:rPr lang="de-DE" sz="900" dirty="0"/>
              <a:t>	</a:t>
            </a:r>
            <a:r>
              <a:rPr lang="de-DE" sz="900" dirty="0" smtClean="0"/>
              <a:t>2</a:t>
            </a:r>
            <a:r>
              <a:rPr lang="de-DE" sz="900" dirty="0"/>
              <a:t>	</a:t>
            </a:r>
            <a:r>
              <a:rPr lang="de-DE" sz="900" dirty="0" err="1" smtClean="0"/>
              <a:t>blob</a:t>
            </a:r>
            <a:r>
              <a:rPr lang="de-DE" sz="900" dirty="0" smtClean="0"/>
              <a:t> </a:t>
            </a:r>
            <a:r>
              <a:rPr lang="de-DE" sz="900" dirty="0" err="1"/>
              <a:t>data</a:t>
            </a:r>
            <a:r>
              <a:rPr lang="de-DE" sz="900" dirty="0"/>
              <a:t> </a:t>
            </a:r>
            <a:r>
              <a:rPr lang="de-DE" sz="900" dirty="0" err="1"/>
              <a:t>size</a:t>
            </a:r>
            <a:r>
              <a:rPr lang="de-DE" sz="900" dirty="0"/>
              <a:t> </a:t>
            </a:r>
            <a:r>
              <a:rPr lang="de-DE" sz="900" dirty="0" err="1"/>
              <a:t>and</a:t>
            </a:r>
            <a:r>
              <a:rPr lang="de-DE" sz="900" dirty="0"/>
              <a:t> </a:t>
            </a:r>
            <a:r>
              <a:rPr lang="de-DE" sz="900" dirty="0" err="1"/>
              <a:t>number</a:t>
            </a:r>
            <a:r>
              <a:rPr lang="de-DE" sz="900" dirty="0"/>
              <a:t> </a:t>
            </a:r>
            <a:r>
              <a:rPr lang="de-DE" sz="900" dirty="0" err="1"/>
              <a:t>too</a:t>
            </a:r>
            <a:r>
              <a:rPr lang="de-DE" sz="900" dirty="0"/>
              <a:t> large </a:t>
            </a:r>
            <a:r>
              <a:rPr lang="de-DE" sz="900" dirty="0" err="1"/>
              <a:t>to</a:t>
            </a:r>
            <a:r>
              <a:rPr lang="de-DE" sz="900" dirty="0"/>
              <a:t> </a:t>
            </a:r>
            <a:r>
              <a:rPr lang="de-DE" sz="900" dirty="0" err="1"/>
              <a:t>be</a:t>
            </a:r>
            <a:r>
              <a:rPr lang="de-DE" sz="900" dirty="0"/>
              <a:t> </a:t>
            </a:r>
            <a:r>
              <a:rPr lang="de-DE" sz="900" dirty="0" err="1" smtClean="0"/>
              <a:t>continuously</a:t>
            </a:r>
            <a:r>
              <a:rPr lang="de-DE" sz="900" dirty="0" smtClean="0"/>
              <a:t> </a:t>
            </a:r>
            <a:r>
              <a:rPr lang="de-DE" sz="900" dirty="0" err="1" smtClean="0"/>
              <a:t>handled</a:t>
            </a:r>
            <a:r>
              <a:rPr lang="de-DE" sz="900" dirty="0" smtClean="0"/>
              <a:t> </a:t>
            </a:r>
            <a:r>
              <a:rPr lang="de-DE" sz="900" dirty="0" err="1"/>
              <a:t>interactively</a:t>
            </a:r>
            <a:r>
              <a:rPr lang="de-DE" sz="900" dirty="0"/>
              <a:t> via </a:t>
            </a:r>
            <a:r>
              <a:rPr lang="de-DE" sz="900" dirty="0" err="1" smtClean="0"/>
              <a:t>network</a:t>
            </a:r>
            <a:r>
              <a:rPr lang="de-DE" sz="900" dirty="0" smtClean="0"/>
              <a:t>, i.e</a:t>
            </a:r>
            <a:r>
              <a:rPr lang="de-DE" sz="900" dirty="0"/>
              <a:t>. </a:t>
            </a:r>
            <a:r>
              <a:rPr lang="de-DE" sz="900" dirty="0" err="1"/>
              <a:t>currently</a:t>
            </a:r>
            <a:r>
              <a:rPr lang="de-DE" sz="900" dirty="0"/>
              <a:t> </a:t>
            </a:r>
            <a:r>
              <a:rPr lang="de-DE" sz="900" dirty="0" err="1" smtClean="0"/>
              <a:t>operating</a:t>
            </a:r>
            <a:r>
              <a:rPr lang="de-DE" sz="900" dirty="0" smtClean="0"/>
              <a:t> </a:t>
            </a:r>
            <a:r>
              <a:rPr lang="de-DE" sz="900" dirty="0" err="1" smtClean="0"/>
              <a:t>with</a:t>
            </a:r>
            <a:r>
              <a:rPr lang="de-DE" sz="900" dirty="0" smtClean="0"/>
              <a:t> </a:t>
            </a:r>
            <a:r>
              <a:rPr lang="de-DE" sz="900" dirty="0" err="1" smtClean="0"/>
              <a:t>scenario</a:t>
            </a:r>
            <a:r>
              <a:rPr lang="de-DE" sz="900" dirty="0" smtClean="0"/>
              <a:t> &gt;10MB/</a:t>
            </a:r>
            <a:r>
              <a:rPr lang="de-DE" sz="900" dirty="0" err="1" smtClean="0"/>
              <a:t>file</a:t>
            </a:r>
            <a:r>
              <a:rPr lang="de-DE" sz="900" dirty="0" smtClean="0"/>
              <a:t> @ &gt;100 </a:t>
            </a:r>
            <a:r>
              <a:rPr lang="de-DE" sz="900" dirty="0" err="1"/>
              <a:t>files</a:t>
            </a:r>
            <a:endParaRPr lang="de-DE" sz="900" dirty="0" smtClean="0"/>
          </a:p>
        </p:txBody>
      </p:sp>
      <p:sp>
        <p:nvSpPr>
          <p:cNvPr id="7" name="Geschweifte Klammer rechts 6"/>
          <p:cNvSpPr/>
          <p:nvPr/>
        </p:nvSpPr>
        <p:spPr>
          <a:xfrm>
            <a:off x="4376936" y="3573016"/>
            <a:ext cx="180020" cy="1649017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Inhaltsplatzhalter 8"/>
          <p:cNvSpPr txBox="1">
            <a:spLocks/>
          </p:cNvSpPr>
          <p:nvPr/>
        </p:nvSpPr>
        <p:spPr>
          <a:xfrm>
            <a:off x="7473280" y="405825"/>
            <a:ext cx="157437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All </a:t>
            </a:r>
            <a:r>
              <a:rPr lang="de-DE" dirty="0" err="1" smtClean="0"/>
              <a:t>scenario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mixed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endParaRPr lang="de-DE" dirty="0"/>
          </a:p>
        </p:txBody>
      </p:sp>
      <p:sp>
        <p:nvSpPr>
          <p:cNvPr id="20" name="Inhaltsplatzhalter 8"/>
          <p:cNvSpPr txBox="1">
            <a:spLocks/>
          </p:cNvSpPr>
          <p:nvPr/>
        </p:nvSpPr>
        <p:spPr>
          <a:xfrm>
            <a:off x="4664968" y="4289802"/>
            <a:ext cx="86409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 smtClean="0"/>
              <a:t>Identica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21" name="Inhaltsplatzhalter 8"/>
          <p:cNvSpPr txBox="1">
            <a:spLocks/>
          </p:cNvSpPr>
          <p:nvPr/>
        </p:nvSpPr>
        <p:spPr>
          <a:xfrm>
            <a:off x="7113241" y="1837626"/>
            <a:ext cx="100811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 smtClean="0"/>
              <a:t>edmond</a:t>
            </a:r>
            <a:r>
              <a:rPr lang="de-DE" dirty="0" smtClean="0"/>
              <a:t>?</a:t>
            </a:r>
            <a:endParaRPr lang="de-DE" dirty="0"/>
          </a:p>
        </p:txBody>
      </p:sp>
      <p:cxnSp>
        <p:nvCxnSpPr>
          <p:cNvPr id="23" name="Gerade Verbindung 22"/>
          <p:cNvCxnSpPr/>
          <p:nvPr/>
        </p:nvCxnSpPr>
        <p:spPr>
          <a:xfrm>
            <a:off x="7041232" y="1628800"/>
            <a:ext cx="0" cy="5760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8"/>
          <p:cNvSpPr txBox="1">
            <a:spLocks/>
          </p:cNvSpPr>
          <p:nvPr/>
        </p:nvSpPr>
        <p:spPr>
          <a:xfrm>
            <a:off x="7113241" y="3645024"/>
            <a:ext cx="100811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 smtClean="0"/>
              <a:t>spot</a:t>
            </a:r>
            <a:r>
              <a:rPr lang="de-DE" dirty="0" smtClean="0"/>
              <a:t>?</a:t>
            </a:r>
            <a:endParaRPr lang="de-DE" dirty="0"/>
          </a:p>
        </p:txBody>
      </p:sp>
      <p:cxnSp>
        <p:nvCxnSpPr>
          <p:cNvPr id="25" name="Gerade Verbindung 24"/>
          <p:cNvCxnSpPr/>
          <p:nvPr/>
        </p:nvCxnSpPr>
        <p:spPr>
          <a:xfrm>
            <a:off x="7041232" y="3436198"/>
            <a:ext cx="0" cy="5760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Inhaltsplatzhalter 8"/>
          <p:cNvSpPr txBox="1">
            <a:spLocks/>
          </p:cNvSpPr>
          <p:nvPr/>
        </p:nvSpPr>
        <p:spPr>
          <a:xfrm>
            <a:off x="7113241" y="4869160"/>
            <a:ext cx="100811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 smtClean="0"/>
              <a:t>easyDB</a:t>
            </a:r>
            <a:r>
              <a:rPr lang="de-DE" dirty="0" smtClean="0"/>
              <a:t>?</a:t>
            </a:r>
            <a:endParaRPr lang="de-DE" dirty="0"/>
          </a:p>
        </p:txBody>
      </p:sp>
      <p:cxnSp>
        <p:nvCxnSpPr>
          <p:cNvPr id="27" name="Gerade Verbindung 26"/>
          <p:cNvCxnSpPr/>
          <p:nvPr/>
        </p:nvCxnSpPr>
        <p:spPr>
          <a:xfrm>
            <a:off x="7041232" y="4660334"/>
            <a:ext cx="0" cy="5760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Inhaltsplatzhalter 8"/>
          <p:cNvSpPr txBox="1">
            <a:spLocks/>
          </p:cNvSpPr>
          <p:nvPr/>
        </p:nvSpPr>
        <p:spPr>
          <a:xfrm>
            <a:off x="7185248" y="2494057"/>
            <a:ext cx="18002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Fileshare + </a:t>
            </a:r>
            <a:r>
              <a:rPr lang="de-DE" dirty="0" err="1" smtClean="0"/>
              <a:t>unixtools</a:t>
            </a:r>
            <a:r>
              <a:rPr lang="de-DE" dirty="0" smtClean="0"/>
              <a:t> + </a:t>
            </a:r>
            <a:r>
              <a:rPr lang="de-DE" dirty="0" err="1" smtClean="0"/>
              <a:t>scripting</a:t>
            </a:r>
            <a:r>
              <a:rPr lang="de-DE" dirty="0" smtClean="0"/>
              <a:t> + FTP/</a:t>
            </a:r>
            <a:r>
              <a:rPr lang="de-DE" dirty="0" err="1" smtClean="0"/>
              <a:t>ssh</a:t>
            </a:r>
            <a:r>
              <a:rPr lang="de-DE" dirty="0" smtClean="0"/>
              <a:t>?</a:t>
            </a:r>
            <a:endParaRPr lang="de-DE" dirty="0"/>
          </a:p>
        </p:txBody>
      </p:sp>
      <p:cxnSp>
        <p:nvCxnSpPr>
          <p:cNvPr id="29" name="Gerade Verbindung 28"/>
          <p:cNvCxnSpPr/>
          <p:nvPr/>
        </p:nvCxnSpPr>
        <p:spPr>
          <a:xfrm>
            <a:off x="7031427" y="2456021"/>
            <a:ext cx="0" cy="5760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2152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05.10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194338" y="765175"/>
            <a:ext cx="9517327" cy="36933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0" name="Inhaltsplatzhalter 8"/>
          <p:cNvSpPr txBox="1">
            <a:spLocks/>
          </p:cNvSpPr>
          <p:nvPr/>
        </p:nvSpPr>
        <p:spPr>
          <a:xfrm>
            <a:off x="189243" y="1596213"/>
            <a:ext cx="9527513" cy="4565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-1097" y="-16431"/>
            <a:ext cx="9906000" cy="6874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34" y="44624"/>
            <a:ext cx="636079" cy="174491"/>
          </a:xfrm>
          <a:prstGeom prst="rect">
            <a:avLst/>
          </a:prstGeom>
        </p:spPr>
      </p:pic>
      <p:sp>
        <p:nvSpPr>
          <p:cNvPr id="17" name="Inhaltsplatzhalter 8"/>
          <p:cNvSpPr txBox="1">
            <a:spLocks/>
          </p:cNvSpPr>
          <p:nvPr/>
        </p:nvSpPr>
        <p:spPr>
          <a:xfrm>
            <a:off x="341643" y="260648"/>
            <a:ext cx="9435893" cy="64017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600"/>
              </a:spcBef>
            </a:pPr>
            <a:r>
              <a:rPr lang="de-DE" sz="1600" dirty="0" smtClean="0"/>
              <a:t>„Big“ Scientific </a:t>
            </a:r>
            <a:r>
              <a:rPr lang="de-DE" sz="1600" dirty="0" err="1" smtClean="0"/>
              <a:t>working</a:t>
            </a:r>
            <a:r>
              <a:rPr lang="de-DE" sz="1600" dirty="0" smtClean="0"/>
              <a:t> </a:t>
            </a:r>
            <a:r>
              <a:rPr lang="de-DE" sz="1600" dirty="0" err="1" smtClean="0"/>
              <a:t>platform</a:t>
            </a:r>
            <a:r>
              <a:rPr lang="de-DE" sz="1600" dirty="0" smtClean="0"/>
              <a:t> -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cas</a:t>
            </a:r>
            <a:r>
              <a:rPr lang="de-DE" sz="1600" dirty="0" err="1" smtClean="0"/>
              <a:t>e</a:t>
            </a:r>
            <a:r>
              <a:rPr lang="de-DE" sz="1600" dirty="0" smtClean="0"/>
              <a:t> </a:t>
            </a:r>
            <a:r>
              <a:rPr lang="de-DE" sz="1600" dirty="0" err="1" smtClean="0"/>
              <a:t>example</a:t>
            </a:r>
            <a:r>
              <a:rPr lang="de-DE" sz="1600" dirty="0"/>
              <a:t/>
            </a:r>
            <a:br>
              <a:rPr lang="de-DE" sz="1600" dirty="0"/>
            </a:br>
            <a:r>
              <a:rPr lang="de-DE" sz="1600" dirty="0" smtClean="0"/>
              <a:t/>
            </a:r>
            <a:br>
              <a:rPr lang="de-DE" sz="1600" dirty="0" smtClean="0"/>
            </a:br>
            <a:r>
              <a:rPr lang="de-DE" sz="1600" dirty="0" err="1" smtClean="0"/>
              <a:t>everything</a:t>
            </a:r>
            <a:r>
              <a:rPr lang="de-DE" sz="1600" dirty="0" smtClean="0"/>
              <a:t> </a:t>
            </a:r>
            <a:r>
              <a:rPr lang="de-DE" sz="1600" dirty="0" err="1" smtClean="0"/>
              <a:t>distributed</a:t>
            </a:r>
            <a:r>
              <a:rPr lang="de-DE" sz="1600" dirty="0" smtClean="0"/>
              <a:t> </a:t>
            </a:r>
            <a:r>
              <a:rPr lang="de-DE" sz="1600" dirty="0" err="1" smtClean="0"/>
              <a:t>over</a:t>
            </a:r>
            <a:r>
              <a:rPr lang="de-DE" sz="1600" dirty="0" smtClean="0"/>
              <a:t> 10 </a:t>
            </a:r>
            <a:r>
              <a:rPr lang="de-DE" sz="1600" dirty="0" err="1" smtClean="0"/>
              <a:t>folders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subfoldertree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100 </a:t>
            </a:r>
            <a:r>
              <a:rPr lang="de-DE" sz="1600" dirty="0" err="1" smtClean="0"/>
              <a:t>folders</a:t>
            </a:r>
            <a:r>
              <a:rPr lang="de-DE" sz="1600" dirty="0" smtClean="0"/>
              <a:t> („Projects, Runs, Setups, …“):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3x1000 </a:t>
            </a:r>
            <a:r>
              <a:rPr lang="de-DE" sz="1600" dirty="0" err="1" smtClean="0"/>
              <a:t>files</a:t>
            </a:r>
            <a:r>
              <a:rPr lang="de-DE" sz="1600" dirty="0" smtClean="0"/>
              <a:t> a 100MB (</a:t>
            </a:r>
            <a:r>
              <a:rPr lang="de-DE" sz="1600" dirty="0" err="1" smtClean="0"/>
              <a:t>proprietary</a:t>
            </a:r>
            <a:r>
              <a:rPr lang="de-DE" sz="1600" dirty="0" smtClean="0"/>
              <a:t> </a:t>
            </a:r>
            <a:r>
              <a:rPr lang="de-DE" sz="1600" dirty="0" err="1" smtClean="0"/>
              <a:t>blobs</a:t>
            </a:r>
            <a:r>
              <a:rPr lang="de-DE" sz="1600" dirty="0" smtClean="0"/>
              <a:t>, </a:t>
            </a:r>
            <a:r>
              <a:rPr lang="de-DE" sz="1600" dirty="0" err="1" smtClean="0"/>
              <a:t>raw</a:t>
            </a:r>
            <a:r>
              <a:rPr lang="de-DE" sz="1600" dirty="0" smtClean="0"/>
              <a:t>, </a:t>
            </a:r>
            <a:r>
              <a:rPr lang="de-DE" sz="1600" dirty="0" err="1" smtClean="0"/>
              <a:t>jpg</a:t>
            </a:r>
            <a:r>
              <a:rPr lang="de-DE" sz="1600" dirty="0" smtClean="0"/>
              <a:t>, </a:t>
            </a:r>
            <a:r>
              <a:rPr lang="de-DE" sz="1600" dirty="0" err="1" smtClean="0"/>
              <a:t>tif</a:t>
            </a:r>
            <a:r>
              <a:rPr lang="de-DE" sz="1600" dirty="0" smtClean="0"/>
              <a:t>, …)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1</a:t>
            </a:r>
            <a:r>
              <a:rPr lang="de-DE" sz="1600" dirty="0" smtClean="0"/>
              <a:t>0 </a:t>
            </a:r>
            <a:r>
              <a:rPr lang="de-DE" sz="1600" dirty="0" err="1" smtClean="0"/>
              <a:t>script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 a 1kB (</a:t>
            </a:r>
            <a:r>
              <a:rPr lang="de-DE" sz="1600" dirty="0" err="1" smtClean="0"/>
              <a:t>conversions</a:t>
            </a:r>
            <a:r>
              <a:rPr lang="de-DE" sz="1600" dirty="0" smtClean="0"/>
              <a:t>, </a:t>
            </a:r>
            <a:r>
              <a:rPr lang="de-DE" sz="1600" dirty="0" err="1" smtClean="0"/>
              <a:t>calculating</a:t>
            </a:r>
            <a:r>
              <a:rPr lang="de-DE" sz="1600" dirty="0" smtClean="0"/>
              <a:t> </a:t>
            </a:r>
            <a:r>
              <a:rPr lang="de-DE" sz="1600" dirty="0" err="1" smtClean="0"/>
              <a:t>derived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, e.g. </a:t>
            </a:r>
            <a:r>
              <a:rPr lang="de-DE" sz="1600" dirty="0" err="1" smtClean="0"/>
              <a:t>Bash</a:t>
            </a:r>
            <a:r>
              <a:rPr lang="de-DE" sz="1600" dirty="0" smtClean="0"/>
              <a:t>, Python, </a:t>
            </a:r>
            <a:r>
              <a:rPr lang="de-DE" sz="1600" dirty="0" err="1" smtClean="0"/>
              <a:t>MatLab</a:t>
            </a:r>
            <a:r>
              <a:rPr lang="de-DE" sz="1600" dirty="0" smtClean="0"/>
              <a:t>, R)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1000 </a:t>
            </a:r>
            <a:r>
              <a:rPr lang="de-DE" sz="1600" dirty="0" err="1" smtClean="0"/>
              <a:t>derived</a:t>
            </a:r>
            <a:r>
              <a:rPr lang="de-DE" sz="1600" dirty="0" smtClean="0"/>
              <a:t>/</a:t>
            </a:r>
            <a:r>
              <a:rPr lang="de-DE" sz="1600" dirty="0" err="1" smtClean="0"/>
              <a:t>exported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 (e.g. </a:t>
            </a:r>
            <a:r>
              <a:rPr lang="de-DE" sz="1600" dirty="0" err="1" smtClean="0"/>
              <a:t>csv</a:t>
            </a:r>
            <a:r>
              <a:rPr lang="de-DE" sz="1600" dirty="0" smtClean="0"/>
              <a:t>, </a:t>
            </a:r>
            <a:r>
              <a:rPr lang="de-DE" sz="1600" dirty="0" err="1" smtClean="0"/>
              <a:t>matlab</a:t>
            </a:r>
            <a:r>
              <a:rPr lang="de-DE" sz="1600" dirty="0" smtClean="0"/>
              <a:t> </a:t>
            </a:r>
            <a:r>
              <a:rPr lang="de-DE" sz="1600" dirty="0" err="1" smtClean="0"/>
              <a:t>matrices</a:t>
            </a:r>
            <a:r>
              <a:rPr lang="de-DE" sz="1600" dirty="0" smtClean="0"/>
              <a:t>, .</a:t>
            </a:r>
            <a:r>
              <a:rPr lang="de-DE" sz="1600" dirty="0" err="1" smtClean="0"/>
              <a:t>txt</a:t>
            </a:r>
            <a:r>
              <a:rPr lang="de-DE" sz="1600" dirty="0"/>
              <a:t> </a:t>
            </a:r>
            <a:r>
              <a:rPr lang="de-DE" sz="1600" dirty="0" smtClean="0"/>
              <a:t>)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10 </a:t>
            </a:r>
            <a:r>
              <a:rPr lang="de-DE" sz="1600" dirty="0" err="1" smtClean="0"/>
              <a:t>parameter</a:t>
            </a:r>
            <a:r>
              <a:rPr lang="de-DE" sz="1600" dirty="0" smtClean="0"/>
              <a:t> Files </a:t>
            </a:r>
            <a:r>
              <a:rPr lang="de-DE" sz="1600" dirty="0" err="1" smtClean="0"/>
              <a:t>or</a:t>
            </a:r>
            <a:r>
              <a:rPr lang="de-DE" sz="1600" dirty="0" smtClean="0"/>
              <a:t> 10 </a:t>
            </a:r>
            <a:r>
              <a:rPr lang="de-DE" sz="1600" dirty="0" err="1" smtClean="0"/>
              <a:t>files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add‘l</a:t>
            </a:r>
            <a:r>
              <a:rPr lang="de-DE" sz="1600" dirty="0" smtClean="0"/>
              <a:t> </a:t>
            </a:r>
            <a:r>
              <a:rPr lang="de-DE" sz="1600" dirty="0" err="1" smtClean="0"/>
              <a:t>metadata</a:t>
            </a:r>
            <a:r>
              <a:rPr lang="de-DE" sz="1600" dirty="0" smtClean="0"/>
              <a:t> (e.g. Key-Value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csv</a:t>
            </a:r>
            <a:r>
              <a:rPr lang="de-DE" sz="1600" dirty="0" smtClean="0"/>
              <a:t>)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2 SW-Project: 10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, total 2000 </a:t>
            </a:r>
            <a:r>
              <a:rPr lang="de-DE" sz="1600" dirty="0" err="1" smtClean="0"/>
              <a:t>loc</a:t>
            </a:r>
            <a:r>
              <a:rPr lang="de-DE" sz="1600" dirty="0" smtClean="0"/>
              <a:t> (e.g. Python, C++) 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2 </a:t>
            </a:r>
            <a:r>
              <a:rPr lang="de-DE" sz="1600" dirty="0" err="1" smtClean="0"/>
              <a:t>Simulations</a:t>
            </a:r>
            <a:r>
              <a:rPr lang="de-DE" sz="1600" dirty="0" smtClean="0"/>
              <a:t>: 5 </a:t>
            </a:r>
            <a:r>
              <a:rPr lang="de-DE" sz="1600" dirty="0" err="1" smtClean="0"/>
              <a:t>workbooks</a:t>
            </a:r>
            <a:r>
              <a:rPr lang="de-DE" sz="1600" dirty="0" smtClean="0"/>
              <a:t>, 5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, 10 </a:t>
            </a:r>
            <a:r>
              <a:rPr lang="de-DE" sz="1600" dirty="0" err="1" smtClean="0"/>
              <a:t>exported</a:t>
            </a:r>
            <a:r>
              <a:rPr lang="de-DE" sz="1600" dirty="0" smtClean="0"/>
              <a:t> </a:t>
            </a:r>
            <a:r>
              <a:rPr lang="de-DE" sz="1600" dirty="0" err="1" smtClean="0"/>
              <a:t>images</a:t>
            </a:r>
            <a:r>
              <a:rPr lang="de-DE" sz="1600" dirty="0" smtClean="0"/>
              <a:t>  (e.g. </a:t>
            </a:r>
            <a:r>
              <a:rPr lang="de-DE" sz="1600" dirty="0" err="1" smtClean="0"/>
              <a:t>Mathematica</a:t>
            </a:r>
            <a:r>
              <a:rPr lang="de-DE" sz="1600" dirty="0" smtClean="0"/>
              <a:t>, </a:t>
            </a:r>
            <a:r>
              <a:rPr lang="de-DE" sz="1600" dirty="0" err="1" smtClean="0"/>
              <a:t>Maple</a:t>
            </a:r>
            <a:r>
              <a:rPr lang="de-DE" sz="1600" dirty="0" smtClean="0"/>
              <a:t>, </a:t>
            </a:r>
            <a:r>
              <a:rPr lang="de-DE" sz="1600" dirty="0" err="1" smtClean="0"/>
              <a:t>Matlab</a:t>
            </a:r>
            <a:r>
              <a:rPr lang="de-DE" sz="1600" dirty="0" smtClean="0"/>
              <a:t>)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10 </a:t>
            </a:r>
            <a:r>
              <a:rPr lang="de-DE" sz="1600" dirty="0" err="1" smtClean="0"/>
              <a:t>Spreadsheets</a:t>
            </a:r>
            <a:r>
              <a:rPr lang="de-DE" sz="1600" dirty="0" smtClean="0"/>
              <a:t> </a:t>
            </a:r>
            <a:r>
              <a:rPr lang="de-DE" sz="1600" dirty="0" err="1" smtClean="0"/>
              <a:t>xls</a:t>
            </a:r>
            <a:r>
              <a:rPr lang="de-DE" sz="1600" dirty="0" smtClean="0"/>
              <a:t> (</a:t>
            </a:r>
            <a:r>
              <a:rPr lang="de-DE" sz="1600" dirty="0" err="1" smtClean="0"/>
              <a:t>data</a:t>
            </a:r>
            <a:r>
              <a:rPr lang="de-DE" sz="1600" dirty="0" smtClean="0"/>
              <a:t>/</a:t>
            </a:r>
            <a:r>
              <a:rPr lang="de-DE" sz="1600" dirty="0" err="1" smtClean="0"/>
              <a:t>metadata</a:t>
            </a:r>
            <a:r>
              <a:rPr lang="de-DE" sz="1600" dirty="0" smtClean="0"/>
              <a:t> </a:t>
            </a:r>
            <a:r>
              <a:rPr lang="de-DE" sz="1600" dirty="0" err="1" smtClean="0"/>
              <a:t>collected</a:t>
            </a:r>
            <a:r>
              <a:rPr lang="de-DE" sz="1600" dirty="0" smtClean="0"/>
              <a:t>, </a:t>
            </a:r>
            <a:r>
              <a:rPr lang="de-DE" sz="1600" dirty="0" err="1" smtClean="0"/>
              <a:t>entered</a:t>
            </a:r>
            <a:r>
              <a:rPr lang="de-DE" sz="1600" dirty="0" smtClean="0"/>
              <a:t>, </a:t>
            </a:r>
            <a:r>
              <a:rPr lang="de-DE" sz="1600" dirty="0" err="1" smtClean="0"/>
              <a:t>enrichted</a:t>
            </a:r>
            <a:r>
              <a:rPr lang="de-DE" sz="1600" dirty="0" smtClean="0"/>
              <a:t>, </a:t>
            </a:r>
            <a:r>
              <a:rPr lang="de-DE" sz="1600" dirty="0" err="1" smtClean="0"/>
              <a:t>compiled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plotted</a:t>
            </a:r>
            <a:r>
              <a:rPr lang="de-DE" sz="1600" dirty="0" smtClean="0"/>
              <a:t>)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10 </a:t>
            </a:r>
            <a:r>
              <a:rPr lang="de-DE" sz="1600" dirty="0" err="1" smtClean="0"/>
              <a:t>Presentations</a:t>
            </a:r>
            <a:r>
              <a:rPr lang="de-DE" sz="1600" dirty="0" smtClean="0"/>
              <a:t> </a:t>
            </a:r>
            <a:r>
              <a:rPr lang="de-DE" sz="1600" dirty="0" err="1" smtClean="0"/>
              <a:t>ppt</a:t>
            </a:r>
            <a:r>
              <a:rPr lang="de-DE" sz="1600" dirty="0" smtClean="0"/>
              <a:t> (</a:t>
            </a:r>
            <a:r>
              <a:rPr lang="de-DE" sz="1600" dirty="0" err="1" smtClean="0"/>
              <a:t>conferences</a:t>
            </a:r>
            <a:r>
              <a:rPr lang="de-DE" sz="1600" dirty="0" smtClean="0"/>
              <a:t>, </a:t>
            </a:r>
            <a:r>
              <a:rPr lang="de-DE" sz="1600" dirty="0" err="1" smtClean="0"/>
              <a:t>seminar</a:t>
            </a:r>
            <a:r>
              <a:rPr lang="de-DE" sz="1600" dirty="0" smtClean="0"/>
              <a:t> </a:t>
            </a:r>
            <a:r>
              <a:rPr lang="de-DE" sz="1600" dirty="0" err="1" smtClean="0"/>
              <a:t>presenations</a:t>
            </a:r>
            <a:r>
              <a:rPr lang="de-DE" sz="1600" dirty="0" smtClean="0"/>
              <a:t>, PI-</a:t>
            </a:r>
            <a:r>
              <a:rPr lang="de-DE" sz="1600" dirty="0" err="1" smtClean="0"/>
              <a:t>presentations</a:t>
            </a:r>
            <a:r>
              <a:rPr lang="de-DE" sz="1600" dirty="0" smtClean="0"/>
              <a:t>, </a:t>
            </a:r>
            <a:r>
              <a:rPr lang="de-DE" sz="1600" dirty="0" err="1" smtClean="0"/>
              <a:t>own</a:t>
            </a:r>
            <a:r>
              <a:rPr lang="de-DE" sz="1600" dirty="0" smtClean="0"/>
              <a:t> </a:t>
            </a:r>
            <a:r>
              <a:rPr lang="de-DE" sz="1600" dirty="0" err="1" smtClean="0"/>
              <a:t>thinking</a:t>
            </a:r>
            <a:r>
              <a:rPr lang="de-DE" sz="1600" dirty="0" smtClean="0"/>
              <a:t>)</a:t>
            </a:r>
            <a:endParaRPr lang="de-DE" sz="1600" dirty="0"/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/>
              <a:t>2</a:t>
            </a:r>
            <a:r>
              <a:rPr lang="de-DE" sz="1600" dirty="0" smtClean="0"/>
              <a:t> Latex Project Folder </a:t>
            </a:r>
            <a:r>
              <a:rPr lang="de-DE" sz="1600" dirty="0" err="1" smtClean="0"/>
              <a:t>with</a:t>
            </a:r>
            <a:r>
              <a:rPr lang="de-DE" sz="1600" dirty="0" smtClean="0"/>
              <a:t> 10 latex-files (</a:t>
            </a:r>
            <a:r>
              <a:rPr lang="de-DE" sz="1600" dirty="0" err="1" smtClean="0"/>
              <a:t>referencing</a:t>
            </a:r>
            <a:r>
              <a:rPr lang="de-DE" sz="1600" dirty="0" smtClean="0"/>
              <a:t> </a:t>
            </a:r>
            <a:r>
              <a:rPr lang="de-DE" sz="1600" dirty="0" err="1" smtClean="0"/>
              <a:t>images</a:t>
            </a:r>
            <a:r>
              <a:rPr lang="de-DE" sz="1600" dirty="0" smtClean="0"/>
              <a:t> in </a:t>
            </a:r>
            <a:r>
              <a:rPr lang="de-DE" sz="1600" dirty="0" err="1" smtClean="0"/>
              <a:t>other</a:t>
            </a:r>
            <a:r>
              <a:rPr lang="de-DE" sz="1600" dirty="0" smtClean="0"/>
              <a:t> </a:t>
            </a:r>
            <a:r>
              <a:rPr lang="de-DE" sz="1600" dirty="0" err="1" smtClean="0"/>
              <a:t>folders</a:t>
            </a:r>
            <a:r>
              <a:rPr lang="de-DE" sz="1600" dirty="0" smtClean="0"/>
              <a:t>)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10 Word </a:t>
            </a:r>
            <a:r>
              <a:rPr lang="de-DE" sz="1600" dirty="0" err="1" smtClean="0"/>
              <a:t>documents</a:t>
            </a:r>
            <a:r>
              <a:rPr lang="de-DE" sz="1600" dirty="0" smtClean="0"/>
              <a:t> (</a:t>
            </a:r>
            <a:r>
              <a:rPr lang="de-DE" sz="1600" dirty="0" err="1" smtClean="0"/>
              <a:t>Purchase</a:t>
            </a:r>
            <a:r>
              <a:rPr lang="de-DE" sz="1600" dirty="0" smtClean="0"/>
              <a:t> </a:t>
            </a:r>
            <a:r>
              <a:rPr lang="de-DE" sz="1600" dirty="0" err="1" smtClean="0"/>
              <a:t>request</a:t>
            </a:r>
            <a:r>
              <a:rPr lang="de-DE" sz="1600" dirty="0" smtClean="0"/>
              <a:t>, </a:t>
            </a:r>
            <a:r>
              <a:rPr lang="de-DE" sz="1600" dirty="0" err="1" smtClean="0"/>
              <a:t>todo</a:t>
            </a:r>
            <a:r>
              <a:rPr lang="de-DE" sz="1600" dirty="0" smtClean="0"/>
              <a:t> </a:t>
            </a:r>
            <a:r>
              <a:rPr lang="de-DE" sz="1600" dirty="0" err="1" smtClean="0"/>
              <a:t>lists</a:t>
            </a:r>
            <a:r>
              <a:rPr lang="de-DE" sz="1600" dirty="0" smtClean="0"/>
              <a:t>, </a:t>
            </a:r>
            <a:r>
              <a:rPr lang="de-DE" sz="1600" dirty="0" err="1" smtClean="0"/>
              <a:t>order</a:t>
            </a:r>
            <a:r>
              <a:rPr lang="de-DE" sz="1600" dirty="0" smtClean="0"/>
              <a:t> form, „</a:t>
            </a:r>
            <a:r>
              <a:rPr lang="de-DE" sz="1600" dirty="0" err="1" smtClean="0"/>
              <a:t>Please</a:t>
            </a:r>
            <a:r>
              <a:rPr lang="de-DE" sz="1600" dirty="0" smtClean="0"/>
              <a:t> </a:t>
            </a:r>
            <a:r>
              <a:rPr lang="de-DE" sz="1600" dirty="0" err="1" smtClean="0"/>
              <a:t>don‘t</a:t>
            </a:r>
            <a:r>
              <a:rPr lang="de-DE" sz="1600" dirty="0" smtClean="0"/>
              <a:t> </a:t>
            </a:r>
            <a:r>
              <a:rPr lang="de-DE" sz="1600" dirty="0" err="1" smtClean="0"/>
              <a:t>touch</a:t>
            </a:r>
            <a:r>
              <a:rPr lang="de-DE" sz="1600" dirty="0" smtClean="0"/>
              <a:t> </a:t>
            </a:r>
            <a:r>
              <a:rPr lang="de-DE" sz="1600" dirty="0" err="1" smtClean="0"/>
              <a:t>sign</a:t>
            </a:r>
            <a:r>
              <a:rPr lang="de-DE" sz="1600" dirty="0" smtClean="0"/>
              <a:t>“, DFG-Antrag, …)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50 PDFs (</a:t>
            </a:r>
            <a:r>
              <a:rPr lang="de-DE" sz="1600" dirty="0" err="1" smtClean="0"/>
              <a:t>articles</a:t>
            </a:r>
            <a:r>
              <a:rPr lang="de-DE" sz="1600" dirty="0" smtClean="0"/>
              <a:t>, </a:t>
            </a:r>
            <a:r>
              <a:rPr lang="de-DE" sz="1600" dirty="0" err="1" smtClean="0"/>
              <a:t>manuals</a:t>
            </a:r>
            <a:r>
              <a:rPr lang="de-DE" sz="1600" dirty="0" smtClean="0"/>
              <a:t>, </a:t>
            </a:r>
            <a:r>
              <a:rPr lang="de-DE" sz="1600" dirty="0" err="1" smtClean="0"/>
              <a:t>tech</a:t>
            </a:r>
            <a:r>
              <a:rPr lang="de-DE" sz="1600" dirty="0" smtClean="0"/>
              <a:t> </a:t>
            </a:r>
            <a:r>
              <a:rPr lang="de-DE" sz="1600" dirty="0" err="1" smtClean="0"/>
              <a:t>spec</a:t>
            </a:r>
            <a:r>
              <a:rPr lang="de-DE" sz="1600" dirty="0" smtClean="0"/>
              <a:t> </a:t>
            </a:r>
            <a:r>
              <a:rPr lang="de-DE" sz="1600" dirty="0" err="1" smtClean="0"/>
              <a:t>sheets</a:t>
            </a:r>
            <a:r>
              <a:rPr lang="de-DE" sz="1600" dirty="0" smtClean="0"/>
              <a:t>, …)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/>
              <a:t>5</a:t>
            </a:r>
            <a:r>
              <a:rPr lang="de-DE" sz="1600" dirty="0" smtClean="0"/>
              <a:t> </a:t>
            </a:r>
            <a:r>
              <a:rPr lang="de-DE" sz="1600" dirty="0" err="1" smtClean="0"/>
              <a:t>zip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downloaded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a 1GB (2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which</a:t>
            </a:r>
            <a:r>
              <a:rPr lang="de-DE" sz="1600" dirty="0" smtClean="0"/>
              <a:t> </a:t>
            </a:r>
            <a:r>
              <a:rPr lang="de-DE" sz="1600" dirty="0" err="1" smtClean="0"/>
              <a:t>extracted</a:t>
            </a:r>
            <a:r>
              <a:rPr lang="de-DE" sz="1600" dirty="0" smtClean="0"/>
              <a:t> </a:t>
            </a:r>
            <a:r>
              <a:rPr lang="de-DE" sz="1600" dirty="0" err="1" smtClean="0"/>
              <a:t>resulting</a:t>
            </a:r>
            <a:r>
              <a:rPr lang="de-DE" sz="1600" dirty="0" smtClean="0"/>
              <a:t> in a </a:t>
            </a:r>
            <a:r>
              <a:rPr lang="de-DE" sz="1600" dirty="0" err="1" smtClean="0"/>
              <a:t>tree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300 </a:t>
            </a:r>
            <a:r>
              <a:rPr lang="de-DE" sz="1600" dirty="0" err="1" smtClean="0"/>
              <a:t>folder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10.000 </a:t>
            </a:r>
            <a:r>
              <a:rPr lang="de-DE" sz="1600" dirty="0" err="1" smtClean="0"/>
              <a:t>files</a:t>
            </a:r>
            <a:r>
              <a:rPr lang="de-DE" sz="1600" dirty="0" smtClean="0"/>
              <a:t> in total), 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5 </a:t>
            </a:r>
            <a:r>
              <a:rPr lang="de-DE" sz="1600" dirty="0" err="1" smtClean="0"/>
              <a:t>zip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 a 30MB (</a:t>
            </a:r>
            <a:r>
              <a:rPr lang="de-DE" sz="1600" dirty="0" err="1" smtClean="0"/>
              <a:t>things</a:t>
            </a:r>
            <a:r>
              <a:rPr lang="de-DE" sz="1600" dirty="0" smtClean="0"/>
              <a:t> </a:t>
            </a:r>
            <a:r>
              <a:rPr lang="de-DE" sz="1600" dirty="0" err="1" smtClean="0"/>
              <a:t>emailed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others</a:t>
            </a:r>
            <a:r>
              <a:rPr lang="de-DE" sz="1600" dirty="0" smtClean="0"/>
              <a:t>)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/>
              <a:t>5</a:t>
            </a:r>
            <a:r>
              <a:rPr lang="de-DE" sz="1600" dirty="0" smtClean="0"/>
              <a:t> </a:t>
            </a:r>
            <a:r>
              <a:rPr lang="de-DE" sz="1600" dirty="0" err="1" smtClean="0"/>
              <a:t>executables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installer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 (e.g. </a:t>
            </a:r>
            <a:r>
              <a:rPr lang="de-DE" sz="1600" dirty="0" err="1" smtClean="0"/>
              <a:t>special</a:t>
            </a:r>
            <a:r>
              <a:rPr lang="de-DE" sz="1600" dirty="0" smtClean="0"/>
              <a:t> </a:t>
            </a:r>
            <a:r>
              <a:rPr lang="de-DE" sz="1600" dirty="0" err="1" smtClean="0"/>
              <a:t>software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framework</a:t>
            </a:r>
            <a:r>
              <a:rPr lang="de-DE" sz="1600" dirty="0" smtClean="0"/>
              <a:t> </a:t>
            </a:r>
            <a:r>
              <a:rPr lang="de-DE" sz="1600" dirty="0" err="1" smtClean="0"/>
              <a:t>libs</a:t>
            </a:r>
            <a:r>
              <a:rPr lang="de-DE" sz="1600" dirty="0" smtClean="0"/>
              <a:t> </a:t>
            </a:r>
            <a:r>
              <a:rPr lang="de-DE" sz="1600" dirty="0" err="1" smtClean="0"/>
              <a:t>required</a:t>
            </a:r>
            <a:r>
              <a:rPr lang="de-DE" sz="1600" dirty="0" smtClean="0"/>
              <a:t>)</a:t>
            </a:r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5 CAD-project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 (e.g. </a:t>
            </a:r>
            <a:r>
              <a:rPr lang="de-DE" sz="1600" dirty="0" err="1" smtClean="0"/>
              <a:t>Autocad</a:t>
            </a:r>
            <a:r>
              <a:rPr lang="de-DE" sz="1600" dirty="0" smtClean="0"/>
              <a:t>), 5 </a:t>
            </a:r>
            <a:r>
              <a:rPr lang="de-DE" sz="1600" dirty="0" err="1" smtClean="0"/>
              <a:t>proprietary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lab-</a:t>
            </a:r>
            <a:r>
              <a:rPr lang="de-DE" sz="1600" dirty="0" err="1" smtClean="0"/>
              <a:t>control</a:t>
            </a:r>
            <a:r>
              <a:rPr lang="de-DE" sz="1600" dirty="0" smtClean="0"/>
              <a:t>-Software (e.g. </a:t>
            </a:r>
            <a:r>
              <a:rPr lang="de-DE" sz="1600" dirty="0" err="1" smtClean="0"/>
              <a:t>Labview</a:t>
            </a:r>
            <a:r>
              <a:rPr lang="de-DE" sz="1600" dirty="0" smtClean="0"/>
              <a:t>)</a:t>
            </a:r>
            <a:endParaRPr lang="de-DE" sz="1600" dirty="0" smtClean="0"/>
          </a:p>
          <a:p>
            <a:pPr marL="574675" lvl="2" indent="-400050">
              <a:spcBef>
                <a:spcPts val="600"/>
              </a:spcBef>
              <a:buFont typeface="+mj-lt"/>
              <a:buAutoNum type="romanLcPeriod"/>
            </a:pPr>
            <a:r>
              <a:rPr lang="de-DE" sz="1600" dirty="0" smtClean="0"/>
              <a:t>5 </a:t>
            </a:r>
            <a:r>
              <a:rPr lang="de-DE" sz="1600" dirty="0" err="1" smtClean="0"/>
              <a:t>saved</a:t>
            </a:r>
            <a:r>
              <a:rPr lang="de-DE" sz="1600" dirty="0" smtClean="0"/>
              <a:t> web </a:t>
            </a:r>
            <a:r>
              <a:rPr lang="de-DE" sz="1600" dirty="0" err="1" smtClean="0"/>
              <a:t>pages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74763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05.10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194338" y="765175"/>
            <a:ext cx="9517327" cy="36933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0" name="Inhaltsplatzhalter 8"/>
          <p:cNvSpPr txBox="1">
            <a:spLocks/>
          </p:cNvSpPr>
          <p:nvPr/>
        </p:nvSpPr>
        <p:spPr>
          <a:xfrm>
            <a:off x="189243" y="1596213"/>
            <a:ext cx="9527513" cy="4565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-1097" y="-16431"/>
            <a:ext cx="9906000" cy="6874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34" y="44624"/>
            <a:ext cx="636079" cy="174491"/>
          </a:xfrm>
          <a:prstGeom prst="rect">
            <a:avLst/>
          </a:prstGeom>
        </p:spPr>
      </p:pic>
      <p:sp>
        <p:nvSpPr>
          <p:cNvPr id="17" name="Inhaltsplatzhalter 8"/>
          <p:cNvSpPr txBox="1">
            <a:spLocks/>
          </p:cNvSpPr>
          <p:nvPr/>
        </p:nvSpPr>
        <p:spPr>
          <a:xfrm>
            <a:off x="341643" y="260648"/>
            <a:ext cx="9435893" cy="50167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de-DE" sz="1600" dirty="0" smtClean="0"/>
              <a:t>„Big“ Scientific </a:t>
            </a:r>
            <a:r>
              <a:rPr lang="de-DE" sz="1600" dirty="0" err="1" smtClean="0"/>
              <a:t>working</a:t>
            </a:r>
            <a:r>
              <a:rPr lang="de-DE" sz="1600" dirty="0" smtClean="0"/>
              <a:t> </a:t>
            </a:r>
            <a:r>
              <a:rPr lang="de-DE" sz="1600" dirty="0" err="1" smtClean="0"/>
              <a:t>platform</a:t>
            </a:r>
            <a:r>
              <a:rPr lang="de-DE" sz="1600" dirty="0" smtClean="0"/>
              <a:t> – „</a:t>
            </a:r>
            <a:r>
              <a:rPr lang="de-DE" sz="1600" dirty="0" smtClean="0"/>
              <a:t>Paranoia“ </a:t>
            </a:r>
            <a:r>
              <a:rPr lang="de-DE" sz="1600" dirty="0" err="1" smtClean="0"/>
              <a:t>stat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mind</a:t>
            </a:r>
            <a:r>
              <a:rPr lang="de-DE" sz="1600" dirty="0" smtClean="0"/>
              <a:t> </a:t>
            </a:r>
            <a:endParaRPr lang="de-DE" sz="1600" dirty="0" smtClean="0"/>
          </a:p>
          <a:p>
            <a:pPr marL="0" lvl="1" indent="0">
              <a:spcBef>
                <a:spcPts val="600"/>
              </a:spcBef>
              <a:buNone/>
            </a:pPr>
            <a:endParaRPr lang="de-DE" sz="1600" dirty="0" smtClean="0"/>
          </a:p>
          <a:p>
            <a:pPr marL="0" lvl="1" indent="0">
              <a:spcBef>
                <a:spcPts val="600"/>
              </a:spcBef>
              <a:buNone/>
            </a:pPr>
            <a:r>
              <a:rPr lang="de-DE" sz="1600" dirty="0" err="1" smtClean="0"/>
              <a:t>No</a:t>
            </a:r>
            <a:r>
              <a:rPr lang="de-DE" sz="1600" dirty="0" smtClean="0"/>
              <a:t> </a:t>
            </a:r>
            <a:r>
              <a:rPr lang="de-DE" sz="1600" dirty="0" err="1" smtClean="0"/>
              <a:t>trust</a:t>
            </a:r>
            <a:r>
              <a:rPr lang="de-DE" sz="1600" dirty="0" smtClean="0"/>
              <a:t> in </a:t>
            </a:r>
            <a:r>
              <a:rPr lang="de-DE" sz="1600" dirty="0" err="1" smtClean="0"/>
              <a:t>central</a:t>
            </a:r>
            <a:r>
              <a:rPr lang="de-DE" sz="1600" dirty="0" smtClean="0"/>
              <a:t> </a:t>
            </a:r>
            <a:r>
              <a:rPr lang="de-DE" sz="1600" dirty="0" err="1" smtClean="0"/>
              <a:t>services</a:t>
            </a:r>
            <a:r>
              <a:rPr lang="de-DE" sz="1600" dirty="0" smtClean="0"/>
              <a:t> not </a:t>
            </a:r>
            <a:r>
              <a:rPr lang="de-DE" sz="1600" dirty="0" err="1" smtClean="0"/>
              <a:t>under</a:t>
            </a:r>
            <a:r>
              <a:rPr lang="de-DE" sz="1600" dirty="0" smtClean="0"/>
              <a:t> </a:t>
            </a: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control</a:t>
            </a:r>
            <a:r>
              <a:rPr lang="de-DE" sz="1600" dirty="0" smtClean="0"/>
              <a:t> </a:t>
            </a:r>
          </a:p>
          <a:p>
            <a:pPr lvl="1">
              <a:spcBef>
                <a:spcPts val="600"/>
              </a:spcBef>
            </a:pPr>
            <a:r>
              <a:rPr lang="de-DE" sz="1600" dirty="0" err="1" smtClean="0"/>
              <a:t>except</a:t>
            </a:r>
            <a:endParaRPr lang="de-DE" sz="1600" dirty="0" smtClean="0"/>
          </a:p>
          <a:p>
            <a:pPr lvl="2">
              <a:spcBef>
                <a:spcPts val="600"/>
              </a:spcBef>
            </a:pPr>
            <a:r>
              <a:rPr lang="de-DE" sz="1600" dirty="0" err="1" smtClean="0"/>
              <a:t>For</a:t>
            </a:r>
            <a:r>
              <a:rPr lang="de-DE" sz="1600" dirty="0" smtClean="0"/>
              <a:t> Backup</a:t>
            </a:r>
          </a:p>
          <a:p>
            <a:pPr lvl="2">
              <a:spcBef>
                <a:spcPts val="600"/>
              </a:spcBef>
            </a:pP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much</a:t>
            </a:r>
            <a:r>
              <a:rPr lang="de-DE" sz="1600" dirty="0" smtClean="0"/>
              <a:t> larger </a:t>
            </a:r>
            <a:r>
              <a:rPr lang="de-DE" sz="1600" dirty="0" err="1" smtClean="0"/>
              <a:t>than</a:t>
            </a:r>
            <a:r>
              <a:rPr lang="de-DE" sz="1600" dirty="0" smtClean="0"/>
              <a:t> </a:t>
            </a: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hard</a:t>
            </a:r>
            <a:r>
              <a:rPr lang="de-DE" sz="1600" dirty="0" smtClean="0"/>
              <a:t> </a:t>
            </a:r>
            <a:r>
              <a:rPr lang="de-DE" sz="1600" dirty="0" err="1" smtClean="0"/>
              <a:t>disk</a:t>
            </a:r>
            <a:r>
              <a:rPr lang="de-DE" sz="1600" dirty="0" smtClean="0"/>
              <a:t> (</a:t>
            </a:r>
            <a:r>
              <a:rPr lang="de-DE" sz="1600" dirty="0" err="1" smtClean="0"/>
              <a:t>today</a:t>
            </a:r>
            <a:r>
              <a:rPr lang="de-DE" sz="1600" dirty="0" smtClean="0"/>
              <a:t> 1TB)</a:t>
            </a:r>
          </a:p>
          <a:p>
            <a:pPr lvl="2">
              <a:spcBef>
                <a:spcPts val="600"/>
              </a:spcBef>
            </a:pP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not </a:t>
            </a:r>
            <a:r>
              <a:rPr lang="de-DE" sz="1600" dirty="0" err="1" smtClean="0"/>
              <a:t>needed</a:t>
            </a:r>
            <a:r>
              <a:rPr lang="de-DE" sz="1600" dirty="0" smtClean="0"/>
              <a:t> </a:t>
            </a:r>
            <a:r>
              <a:rPr lang="de-DE" sz="1600" dirty="0" err="1" smtClean="0"/>
              <a:t>any</a:t>
            </a:r>
            <a:r>
              <a:rPr lang="de-DE" sz="1600" dirty="0" smtClean="0"/>
              <a:t> </a:t>
            </a:r>
            <a:r>
              <a:rPr lang="de-DE" sz="1600" dirty="0" err="1" smtClean="0"/>
              <a:t>more</a:t>
            </a:r>
            <a:r>
              <a:rPr lang="de-DE" sz="1600" dirty="0" smtClean="0"/>
              <a:t> („LT </a:t>
            </a:r>
            <a:r>
              <a:rPr lang="de-DE" sz="1600" dirty="0" err="1" smtClean="0"/>
              <a:t>archiving</a:t>
            </a:r>
            <a:r>
              <a:rPr lang="de-DE" sz="1600" dirty="0" smtClean="0"/>
              <a:t>“)</a:t>
            </a:r>
          </a:p>
          <a:p>
            <a:pPr lvl="1">
              <a:spcBef>
                <a:spcPts val="600"/>
              </a:spcBef>
            </a:pP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except</a:t>
            </a:r>
            <a:r>
              <a:rPr lang="de-DE" sz="1600" dirty="0" smtClean="0"/>
              <a:t> </a:t>
            </a:r>
            <a:r>
              <a:rPr lang="de-DE" sz="1600" dirty="0" err="1" smtClean="0"/>
              <a:t>some</a:t>
            </a:r>
            <a:r>
              <a:rPr lang="de-DE" sz="1600" dirty="0" smtClean="0"/>
              <a:t> </a:t>
            </a:r>
            <a:r>
              <a:rPr lang="de-DE" sz="1600" dirty="0" err="1" smtClean="0"/>
              <a:t>trust</a:t>
            </a:r>
            <a:r>
              <a:rPr lang="de-DE" sz="1600" dirty="0" smtClean="0"/>
              <a:t> in</a:t>
            </a:r>
          </a:p>
          <a:p>
            <a:pPr lvl="2">
              <a:spcBef>
                <a:spcPts val="600"/>
              </a:spcBef>
            </a:pP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project</a:t>
            </a:r>
            <a:r>
              <a:rPr lang="de-DE" sz="1600" dirty="0" smtClean="0"/>
              <a:t> </a:t>
            </a:r>
            <a:r>
              <a:rPr lang="de-DE" sz="1600" dirty="0" err="1" smtClean="0"/>
              <a:t>shares</a:t>
            </a:r>
            <a:r>
              <a:rPr lang="de-DE" sz="1600" dirty="0" smtClean="0"/>
              <a:t> (</a:t>
            </a: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file</a:t>
            </a:r>
            <a:r>
              <a:rPr lang="de-DE" sz="1600" dirty="0" smtClean="0"/>
              <a:t> </a:t>
            </a:r>
            <a:r>
              <a:rPr lang="de-DE" sz="1600" dirty="0" err="1" smtClean="0"/>
              <a:t>server</a:t>
            </a:r>
            <a:r>
              <a:rPr lang="de-DE" sz="1600" dirty="0" smtClean="0"/>
              <a:t>, </a:t>
            </a: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own</a:t>
            </a:r>
            <a:r>
              <a:rPr lang="de-DE" sz="1600" dirty="0" smtClean="0"/>
              <a:t> </a:t>
            </a:r>
            <a:r>
              <a:rPr lang="de-DE" sz="1600" dirty="0" err="1" smtClean="0"/>
              <a:t>clouds</a:t>
            </a:r>
            <a:r>
              <a:rPr lang="de-DE" sz="1600" dirty="0" smtClean="0"/>
              <a:t>)</a:t>
            </a:r>
          </a:p>
          <a:p>
            <a:pPr lvl="2">
              <a:spcBef>
                <a:spcPts val="600"/>
              </a:spcBef>
            </a:pPr>
            <a:r>
              <a:rPr lang="de-DE" sz="1600" dirty="0" smtClean="0"/>
              <a:t>Personal </a:t>
            </a:r>
            <a:r>
              <a:rPr lang="de-DE" sz="1600" dirty="0" err="1" smtClean="0"/>
              <a:t>disk</a:t>
            </a:r>
            <a:r>
              <a:rPr lang="de-DE" sz="1600" dirty="0" smtClean="0"/>
              <a:t> </a:t>
            </a:r>
            <a:r>
              <a:rPr lang="de-DE" sz="1600" dirty="0" err="1" smtClean="0"/>
              <a:t>space</a:t>
            </a:r>
            <a:r>
              <a:rPr lang="de-DE" sz="1600" dirty="0" smtClean="0"/>
              <a:t> in </a:t>
            </a:r>
            <a:r>
              <a:rPr lang="de-DE" sz="1600" dirty="0" err="1" smtClean="0"/>
              <a:t>computing</a:t>
            </a:r>
            <a:r>
              <a:rPr lang="de-DE" sz="1600" dirty="0" smtClean="0"/>
              <a:t> </a:t>
            </a:r>
            <a:r>
              <a:rPr lang="de-DE" sz="1600" dirty="0" err="1" smtClean="0"/>
              <a:t>centers</a:t>
            </a:r>
            <a:endParaRPr lang="de-DE" sz="1600" dirty="0" smtClean="0"/>
          </a:p>
          <a:p>
            <a:pPr lvl="2">
              <a:spcBef>
                <a:spcPts val="600"/>
              </a:spcBef>
            </a:pPr>
            <a:r>
              <a:rPr lang="de-DE" sz="1600" dirty="0" smtClean="0"/>
              <a:t>Project </a:t>
            </a:r>
            <a:r>
              <a:rPr lang="de-DE" sz="1600" dirty="0" err="1" smtClean="0"/>
              <a:t>disk</a:t>
            </a:r>
            <a:r>
              <a:rPr lang="de-DE" sz="1600" dirty="0" smtClean="0"/>
              <a:t> </a:t>
            </a:r>
            <a:r>
              <a:rPr lang="de-DE" sz="1600" dirty="0" err="1" smtClean="0"/>
              <a:t>space</a:t>
            </a:r>
            <a:r>
              <a:rPr lang="de-DE" sz="1600" dirty="0" smtClean="0"/>
              <a:t> in </a:t>
            </a:r>
            <a:r>
              <a:rPr lang="de-DE" sz="1600" dirty="0" err="1" smtClean="0"/>
              <a:t>computing</a:t>
            </a:r>
            <a:r>
              <a:rPr lang="de-DE" sz="1600" dirty="0" smtClean="0"/>
              <a:t> </a:t>
            </a:r>
            <a:r>
              <a:rPr lang="de-DE" sz="1600" dirty="0" err="1" smtClean="0"/>
              <a:t>centers</a:t>
            </a:r>
            <a:endParaRPr lang="de-DE" sz="1600" dirty="0"/>
          </a:p>
          <a:p>
            <a:pPr lvl="3">
              <a:spcBef>
                <a:spcPts val="600"/>
              </a:spcBef>
            </a:pPr>
            <a:r>
              <a:rPr lang="de-DE" sz="1600" dirty="0" smtClean="0"/>
              <a:t>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ontex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compute</a:t>
            </a:r>
            <a:r>
              <a:rPr lang="de-DE" sz="1600" dirty="0" smtClean="0"/>
              <a:t> </a:t>
            </a:r>
            <a:r>
              <a:rPr lang="de-DE" sz="1600" dirty="0" err="1" smtClean="0"/>
              <a:t>applications</a:t>
            </a:r>
            <a:endParaRPr lang="de-DE" sz="1600" dirty="0" smtClean="0"/>
          </a:p>
          <a:p>
            <a:pPr lvl="3">
              <a:spcBef>
                <a:spcPts val="600"/>
              </a:spcBef>
            </a:pPr>
            <a:r>
              <a:rPr lang="de-DE" sz="1600" dirty="0" err="1" smtClean="0"/>
              <a:t>if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from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larger </a:t>
            </a:r>
            <a:r>
              <a:rPr lang="de-DE" sz="1600" dirty="0" err="1" smtClean="0"/>
              <a:t>projec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delivered</a:t>
            </a:r>
            <a:r>
              <a:rPr lang="de-DE" sz="1600" dirty="0" smtClean="0"/>
              <a:t> </a:t>
            </a:r>
            <a:r>
              <a:rPr lang="de-DE" sz="1600" dirty="0" err="1" smtClean="0"/>
              <a:t>through</a:t>
            </a:r>
            <a:r>
              <a:rPr lang="de-DE" sz="1600" dirty="0" smtClean="0"/>
              <a:t> </a:t>
            </a:r>
            <a:r>
              <a:rPr lang="de-DE" sz="1600" dirty="0" err="1" smtClean="0"/>
              <a:t>this</a:t>
            </a:r>
            <a:endParaRPr lang="de-DE" sz="1600" dirty="0" smtClean="0"/>
          </a:p>
          <a:p>
            <a:pPr lvl="2">
              <a:spcBef>
                <a:spcPts val="600"/>
              </a:spcBef>
            </a:pPr>
            <a:r>
              <a:rPr lang="de-DE" sz="1600" dirty="0" smtClean="0"/>
              <a:t>Hard </a:t>
            </a:r>
            <a:r>
              <a:rPr lang="de-DE" sz="1600" dirty="0" err="1" smtClean="0"/>
              <a:t>driv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server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measurement</a:t>
            </a:r>
            <a:r>
              <a:rPr lang="de-DE" sz="1600" dirty="0" smtClean="0"/>
              <a:t> </a:t>
            </a:r>
            <a:r>
              <a:rPr lang="de-DE" sz="1600" dirty="0" err="1" smtClean="0"/>
              <a:t>equipment</a:t>
            </a:r>
            <a:r>
              <a:rPr lang="de-DE" sz="1600" dirty="0" smtClean="0"/>
              <a:t> (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this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source</a:t>
            </a:r>
            <a:r>
              <a:rPr lang="de-DE" sz="1600" dirty="0" smtClean="0"/>
              <a:t>)</a:t>
            </a:r>
          </a:p>
          <a:p>
            <a:pPr lvl="2">
              <a:spcBef>
                <a:spcPts val="600"/>
              </a:spcBef>
            </a:pPr>
            <a:r>
              <a:rPr lang="de-DE" sz="1600" dirty="0" smtClean="0"/>
              <a:t>Dropbox? OwnCloud@3rdParty? </a:t>
            </a:r>
            <a:r>
              <a:rPr lang="de-DE" sz="1600" dirty="0" err="1" smtClean="0"/>
              <a:t>OwnCloud@computingCenter</a:t>
            </a:r>
            <a:r>
              <a:rPr lang="de-DE" sz="1600" dirty="0" smtClean="0"/>
              <a:t>? </a:t>
            </a:r>
            <a:r>
              <a:rPr lang="de-DE" sz="1600" dirty="0" err="1" smtClean="0"/>
              <a:t>Probably</a:t>
            </a:r>
            <a:r>
              <a:rPr lang="de-DE" sz="1600" dirty="0" smtClean="0"/>
              <a:t> </a:t>
            </a:r>
            <a:r>
              <a:rPr lang="de-DE" sz="1600" dirty="0" err="1" smtClean="0"/>
              <a:t>temporarily</a:t>
            </a:r>
            <a:r>
              <a:rPr lang="de-DE" sz="1600" dirty="0" smtClean="0"/>
              <a:t>.</a:t>
            </a:r>
            <a:r>
              <a:rPr lang="de-DE" sz="1600" dirty="0"/>
              <a:t/>
            </a:r>
            <a:br>
              <a:rPr lang="de-DE" sz="1600" dirty="0"/>
            </a:b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45781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05.10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194338" y="765175"/>
            <a:ext cx="9517327" cy="36933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0" name="Inhaltsplatzhalter 8"/>
          <p:cNvSpPr txBox="1">
            <a:spLocks/>
          </p:cNvSpPr>
          <p:nvPr/>
        </p:nvSpPr>
        <p:spPr>
          <a:xfrm>
            <a:off x="189243" y="1596213"/>
            <a:ext cx="9527513" cy="4565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-1097" y="-16431"/>
            <a:ext cx="9906000" cy="6874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34" y="44624"/>
            <a:ext cx="636079" cy="174491"/>
          </a:xfrm>
          <a:prstGeom prst="rect">
            <a:avLst/>
          </a:prstGeom>
        </p:spPr>
      </p:pic>
      <p:sp>
        <p:nvSpPr>
          <p:cNvPr id="17" name="Inhaltsplatzhalter 8"/>
          <p:cNvSpPr txBox="1">
            <a:spLocks/>
          </p:cNvSpPr>
          <p:nvPr/>
        </p:nvSpPr>
        <p:spPr>
          <a:xfrm>
            <a:off x="341643" y="260648"/>
            <a:ext cx="9435893" cy="60631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de-DE" sz="1600" dirty="0" smtClean="0"/>
              <a:t>„Big“ Scientific </a:t>
            </a:r>
            <a:r>
              <a:rPr lang="de-DE" sz="1600" dirty="0" err="1" smtClean="0"/>
              <a:t>working</a:t>
            </a:r>
            <a:r>
              <a:rPr lang="de-DE" sz="1600" dirty="0" smtClean="0"/>
              <a:t> </a:t>
            </a:r>
            <a:r>
              <a:rPr lang="de-DE" sz="1600" dirty="0" err="1" smtClean="0"/>
              <a:t>platform</a:t>
            </a:r>
            <a:r>
              <a:rPr lang="de-DE" sz="1600" dirty="0" smtClean="0"/>
              <a:t> – </a:t>
            </a:r>
            <a:r>
              <a:rPr lang="de-DE" sz="1600" dirty="0" err="1" smtClean="0"/>
              <a:t>Requirements</a:t>
            </a:r>
            <a:endParaRPr lang="de-DE" sz="1600" dirty="0" smtClean="0"/>
          </a:p>
          <a:p>
            <a:pPr marL="0" lvl="1" indent="0">
              <a:spcBef>
                <a:spcPts val="600"/>
              </a:spcBef>
              <a:buNone/>
            </a:pPr>
            <a:endParaRPr lang="de-DE" sz="1600" dirty="0" smtClean="0"/>
          </a:p>
          <a:p>
            <a:pPr lvl="1">
              <a:spcBef>
                <a:spcPts val="600"/>
              </a:spcBef>
            </a:pPr>
            <a:r>
              <a:rPr lang="de-DE" sz="1600" dirty="0" err="1" smtClean="0"/>
              <a:t>Local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storage</a:t>
            </a:r>
            <a:endParaRPr lang="de-DE" sz="1600" dirty="0" smtClean="0"/>
          </a:p>
          <a:p>
            <a:pPr lvl="1">
              <a:spcBef>
                <a:spcPts val="600"/>
              </a:spcBef>
            </a:pPr>
            <a:r>
              <a:rPr lang="de-DE" sz="1600" dirty="0" smtClean="0"/>
              <a:t>Version </a:t>
            </a:r>
            <a:r>
              <a:rPr lang="de-DE" sz="1600" dirty="0" err="1" smtClean="0"/>
              <a:t>control</a:t>
            </a:r>
            <a:r>
              <a:rPr lang="de-DE" sz="1600" dirty="0" smtClean="0"/>
              <a:t> (incl. </a:t>
            </a:r>
            <a:r>
              <a:rPr lang="de-DE" sz="1600" dirty="0" err="1" smtClean="0"/>
              <a:t>branch</a:t>
            </a:r>
            <a:r>
              <a:rPr lang="de-DE" sz="1600" dirty="0" err="1" smtClean="0"/>
              <a:t>ing</a:t>
            </a:r>
            <a:r>
              <a:rPr lang="de-DE" sz="1600" dirty="0" smtClean="0"/>
              <a:t>)</a:t>
            </a:r>
          </a:p>
          <a:p>
            <a:pPr lvl="1">
              <a:spcBef>
                <a:spcPts val="600"/>
              </a:spcBef>
            </a:pPr>
            <a:r>
              <a:rPr lang="de-DE" sz="1600" dirty="0" smtClean="0"/>
              <a:t>Replication</a:t>
            </a:r>
          </a:p>
          <a:p>
            <a:pPr lvl="2">
              <a:spcBef>
                <a:spcPts val="600"/>
              </a:spcBef>
            </a:pPr>
            <a:r>
              <a:rPr lang="de-DE" sz="1600" dirty="0" smtClean="0"/>
              <a:t>Code/Text/Parameter </a:t>
            </a:r>
            <a:r>
              <a:rPr lang="de-DE" sz="1600" dirty="0" err="1" smtClean="0"/>
              <a:t>file</a:t>
            </a:r>
            <a:r>
              <a:rPr lang="de-DE" sz="1600" dirty="0" smtClean="0"/>
              <a:t>  </a:t>
            </a:r>
            <a:r>
              <a:rPr lang="de-DE" sz="1600" dirty="0" err="1" smtClean="0"/>
              <a:t>merge</a:t>
            </a:r>
            <a:endParaRPr lang="de-DE" sz="1600" dirty="0" smtClean="0"/>
          </a:p>
          <a:p>
            <a:pPr lvl="2">
              <a:spcBef>
                <a:spcPts val="600"/>
              </a:spcBef>
            </a:pPr>
            <a:r>
              <a:rPr lang="de-DE" sz="1600" dirty="0" err="1" smtClean="0"/>
              <a:t>Conflict</a:t>
            </a:r>
            <a:r>
              <a:rPr lang="de-DE" sz="1600" dirty="0" smtClean="0"/>
              <a:t> </a:t>
            </a:r>
            <a:r>
              <a:rPr lang="de-DE" sz="1600" dirty="0" err="1" smtClean="0"/>
              <a:t>resolution</a:t>
            </a:r>
            <a:r>
              <a:rPr lang="de-DE" sz="1600" dirty="0"/>
              <a:t> </a:t>
            </a:r>
            <a:r>
              <a:rPr lang="de-DE" sz="1600" dirty="0" err="1" smtClean="0"/>
              <a:t>mechanisms</a:t>
            </a:r>
            <a:endParaRPr lang="de-DE" sz="1600" dirty="0" smtClean="0"/>
          </a:p>
          <a:p>
            <a:pPr lvl="1">
              <a:spcBef>
                <a:spcPts val="600"/>
              </a:spcBef>
            </a:pPr>
            <a:r>
              <a:rPr lang="de-DE" sz="1600" dirty="0" smtClean="0"/>
              <a:t>Big </a:t>
            </a:r>
            <a:r>
              <a:rPr lang="de-DE" sz="1600" dirty="0" err="1" smtClean="0"/>
              <a:t>blob</a:t>
            </a:r>
            <a:r>
              <a:rPr lang="de-DE" sz="1600" dirty="0" smtClean="0"/>
              <a:t> </a:t>
            </a:r>
            <a:r>
              <a:rPr lang="de-DE" sz="1600" dirty="0" err="1" smtClean="0"/>
              <a:t>handling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version</a:t>
            </a:r>
            <a:r>
              <a:rPr lang="de-DE" sz="1600" dirty="0" smtClean="0"/>
              <a:t> </a:t>
            </a:r>
            <a:r>
              <a:rPr lang="de-DE" sz="1600" dirty="0" err="1" smtClean="0"/>
              <a:t>control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eplication</a:t>
            </a:r>
            <a:endParaRPr lang="de-DE" sz="1600" dirty="0" smtClean="0"/>
          </a:p>
          <a:p>
            <a:pPr lvl="1">
              <a:spcBef>
                <a:spcPts val="600"/>
              </a:spcBef>
            </a:pPr>
            <a:r>
              <a:rPr lang="de-DE" sz="1600" dirty="0" smtClean="0"/>
              <a:t>Backup</a:t>
            </a:r>
          </a:p>
          <a:p>
            <a:pPr lvl="1">
              <a:spcBef>
                <a:spcPts val="600"/>
              </a:spcBef>
            </a:pPr>
            <a:r>
              <a:rPr lang="de-DE" sz="1600" dirty="0" smtClean="0"/>
              <a:t>Independenc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</a:t>
            </a:r>
            <a:r>
              <a:rPr lang="de-DE" sz="1600" dirty="0" err="1" smtClean="0"/>
              <a:t>service</a:t>
            </a:r>
            <a:r>
              <a:rPr lang="de-DE" sz="1600" dirty="0" smtClean="0"/>
              <a:t> </a:t>
            </a:r>
            <a:r>
              <a:rPr lang="de-DE" sz="1600" dirty="0" err="1" smtClean="0"/>
              <a:t>infratructure</a:t>
            </a:r>
            <a:r>
              <a:rPr lang="de-DE" sz="1600" dirty="0" smtClean="0"/>
              <a:t> (not MPG </a:t>
            </a:r>
            <a:r>
              <a:rPr lang="de-DE" sz="1600" dirty="0" err="1" smtClean="0"/>
              <a:t>nor</a:t>
            </a:r>
            <a:r>
              <a:rPr lang="de-DE" sz="1600" dirty="0" smtClean="0"/>
              <a:t> </a:t>
            </a:r>
            <a:r>
              <a:rPr lang="de-DE" sz="1600" dirty="0"/>
              <a:t>3rd </a:t>
            </a:r>
            <a:r>
              <a:rPr lang="de-DE" sz="1600" dirty="0" err="1"/>
              <a:t>party</a:t>
            </a:r>
            <a:r>
              <a:rPr lang="de-DE" sz="1600" dirty="0"/>
              <a:t>) </a:t>
            </a:r>
            <a:endParaRPr lang="de-DE" sz="1600" dirty="0" smtClean="0"/>
          </a:p>
          <a:p>
            <a:pPr lvl="2">
              <a:spcBef>
                <a:spcPts val="600"/>
              </a:spcBef>
            </a:pPr>
            <a:r>
              <a:rPr lang="de-DE" sz="1600" dirty="0" err="1" smtClean="0"/>
              <a:t>Repositories</a:t>
            </a:r>
            <a:r>
              <a:rPr lang="de-DE" sz="1600" dirty="0" smtClean="0"/>
              <a:t> (must </a:t>
            </a:r>
            <a:r>
              <a:rPr lang="de-DE" sz="1600" dirty="0" err="1" smtClean="0"/>
              <a:t>work</a:t>
            </a:r>
            <a:r>
              <a:rPr lang="de-DE" sz="1600" dirty="0" smtClean="0"/>
              <a:t> </a:t>
            </a:r>
            <a:r>
              <a:rPr lang="de-DE" sz="1600" dirty="0" err="1" smtClean="0"/>
              <a:t>locally</a:t>
            </a:r>
            <a:r>
              <a:rPr lang="de-DE" sz="1600" dirty="0" smtClean="0"/>
              <a:t>)</a:t>
            </a:r>
          </a:p>
          <a:p>
            <a:pPr lvl="2">
              <a:spcBef>
                <a:spcPts val="600"/>
              </a:spcBef>
            </a:pPr>
            <a:r>
              <a:rPr lang="de-DE" sz="1600" dirty="0" err="1" smtClean="0"/>
              <a:t>Application</a:t>
            </a:r>
            <a:r>
              <a:rPr lang="de-DE" sz="1600" dirty="0" smtClean="0"/>
              <a:t> Services (must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ossible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recreate</a:t>
            </a:r>
            <a:r>
              <a:rPr lang="de-DE" sz="1600" dirty="0" smtClean="0"/>
              <a:t> </a:t>
            </a:r>
            <a:r>
              <a:rPr lang="de-DE" sz="1600" dirty="0" err="1" smtClean="0"/>
              <a:t>elsewhere</a:t>
            </a:r>
            <a:r>
              <a:rPr lang="de-DE" sz="1600" dirty="0" smtClean="0"/>
              <a:t>)</a:t>
            </a:r>
          </a:p>
          <a:p>
            <a:pPr lvl="2">
              <a:spcBef>
                <a:spcPts val="600"/>
              </a:spcBef>
            </a:pPr>
            <a:r>
              <a:rPr lang="de-DE" sz="1600" dirty="0" smtClean="0"/>
              <a:t>Code (must </a:t>
            </a:r>
            <a:r>
              <a:rPr lang="de-DE" sz="1600" dirty="0" err="1" smtClean="0"/>
              <a:t>be</a:t>
            </a:r>
            <a:r>
              <a:rPr lang="de-DE" sz="1600" dirty="0" smtClean="0"/>
              <a:t> open </a:t>
            </a:r>
            <a:r>
              <a:rPr lang="de-DE" sz="1600" dirty="0" err="1" smtClean="0"/>
              <a:t>source</a:t>
            </a:r>
            <a:r>
              <a:rPr lang="de-DE" sz="1600" dirty="0" smtClean="0"/>
              <a:t>)</a:t>
            </a:r>
          </a:p>
          <a:p>
            <a:pPr lvl="2">
              <a:spcBef>
                <a:spcPts val="600"/>
              </a:spcBef>
            </a:pPr>
            <a:r>
              <a:rPr lang="de-DE" sz="1600" dirty="0" smtClean="0"/>
              <a:t>Commercial </a:t>
            </a:r>
            <a:r>
              <a:rPr lang="de-DE" sz="1600" dirty="0" err="1" smtClean="0"/>
              <a:t>Applications</a:t>
            </a:r>
            <a:r>
              <a:rPr lang="de-DE" sz="1600" dirty="0" smtClean="0"/>
              <a:t> (</a:t>
            </a:r>
            <a:r>
              <a:rPr lang="de-DE" sz="1600" dirty="0" err="1" smtClean="0"/>
              <a:t>licence</a:t>
            </a:r>
            <a:r>
              <a:rPr lang="de-DE" sz="1600" dirty="0" smtClean="0"/>
              <a:t> must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available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arket</a:t>
            </a:r>
            <a:r>
              <a:rPr lang="de-DE" sz="1600" dirty="0" smtClean="0"/>
              <a:t>)</a:t>
            </a:r>
          </a:p>
          <a:p>
            <a:pPr lvl="1">
              <a:spcBef>
                <a:spcPts val="600"/>
              </a:spcBef>
            </a:pPr>
            <a:r>
              <a:rPr lang="de-DE" sz="1600" dirty="0" smtClean="0"/>
              <a:t>…?</a:t>
            </a:r>
          </a:p>
          <a:p>
            <a:pPr lvl="1">
              <a:spcBef>
                <a:spcPts val="600"/>
              </a:spcBef>
            </a:pPr>
            <a:endParaRPr lang="de-DE" sz="1600" dirty="0" smtClean="0"/>
          </a:p>
          <a:p>
            <a:pPr lvl="1">
              <a:spcBef>
                <a:spcPts val="600"/>
              </a:spcBef>
            </a:pPr>
            <a:endParaRPr lang="de-DE" sz="1600" dirty="0" smtClean="0"/>
          </a:p>
          <a:p>
            <a:pPr lvl="1">
              <a:spcBef>
                <a:spcPts val="600"/>
              </a:spcBef>
            </a:pPr>
            <a:endParaRPr lang="de-DE" sz="1600" dirty="0" smtClean="0"/>
          </a:p>
          <a:p>
            <a:pPr lvl="2">
              <a:spcBef>
                <a:spcPts val="600"/>
              </a:spcBef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178250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23.09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194338" y="765175"/>
            <a:ext cx="9517327" cy="36933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1367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2134" y="44624"/>
            <a:ext cx="636079" cy="174491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280592" y="869231"/>
            <a:ext cx="1080120" cy="86409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r>
              <a:rPr lang="de-DE" sz="1200" dirty="0" smtClean="0">
                <a:solidFill>
                  <a:schemeClr val="tx1"/>
                </a:solidFill>
              </a:rPr>
              <a:t>Storage</a:t>
            </a:r>
          </a:p>
        </p:txBody>
      </p:sp>
      <p:sp>
        <p:nvSpPr>
          <p:cNvPr id="12" name="Rechteck 11"/>
          <p:cNvSpPr/>
          <p:nvPr/>
        </p:nvSpPr>
        <p:spPr>
          <a:xfrm>
            <a:off x="2663146" y="869231"/>
            <a:ext cx="1080120" cy="86409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r>
              <a:rPr lang="de-DE" sz="1200" dirty="0" smtClean="0">
                <a:solidFill>
                  <a:schemeClr val="tx1"/>
                </a:solidFill>
              </a:rPr>
              <a:t>Replication</a:t>
            </a:r>
          </a:p>
        </p:txBody>
      </p:sp>
      <p:sp>
        <p:nvSpPr>
          <p:cNvPr id="13" name="Rechteck 12"/>
          <p:cNvSpPr/>
          <p:nvPr/>
        </p:nvSpPr>
        <p:spPr>
          <a:xfrm>
            <a:off x="5428254" y="869231"/>
            <a:ext cx="1080120" cy="86409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r>
              <a:rPr lang="de-DE" sz="1200" dirty="0" err="1" smtClean="0">
                <a:solidFill>
                  <a:schemeClr val="tx1"/>
                </a:solidFill>
              </a:rPr>
              <a:t>Repo</a:t>
            </a:r>
            <a:r>
              <a:rPr lang="de-DE" sz="1200" dirty="0" smtClean="0">
                <a:solidFill>
                  <a:schemeClr val="tx1"/>
                </a:solidFill>
              </a:rPr>
              <a:t> Web-App</a:t>
            </a:r>
          </a:p>
        </p:txBody>
      </p:sp>
      <p:sp>
        <p:nvSpPr>
          <p:cNvPr id="14" name="Rechteck 13"/>
          <p:cNvSpPr/>
          <p:nvPr/>
        </p:nvSpPr>
        <p:spPr>
          <a:xfrm>
            <a:off x="6810808" y="869231"/>
            <a:ext cx="1080120" cy="86409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r>
              <a:rPr lang="de-DE" sz="1200" dirty="0" smtClean="0">
                <a:solidFill>
                  <a:schemeClr val="tx1"/>
                </a:solidFill>
              </a:rPr>
              <a:t>I/O-API</a:t>
            </a:r>
          </a:p>
        </p:txBody>
      </p:sp>
      <p:sp>
        <p:nvSpPr>
          <p:cNvPr id="15" name="Rechteck 14"/>
          <p:cNvSpPr/>
          <p:nvPr/>
        </p:nvSpPr>
        <p:spPr>
          <a:xfrm>
            <a:off x="8193360" y="869231"/>
            <a:ext cx="1080120" cy="86409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r>
              <a:rPr lang="de-DE" sz="1200" dirty="0" smtClean="0">
                <a:solidFill>
                  <a:schemeClr val="tx1"/>
                </a:solidFill>
              </a:rPr>
              <a:t>Special </a:t>
            </a:r>
            <a:r>
              <a:rPr lang="de-DE" sz="1200" dirty="0" err="1" smtClean="0">
                <a:solidFill>
                  <a:schemeClr val="tx1"/>
                </a:solidFill>
              </a:rPr>
              <a:t>apps</a:t>
            </a:r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4045700" y="869846"/>
            <a:ext cx="1080120" cy="86409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r>
              <a:rPr lang="de-DE" sz="1200" dirty="0" smtClean="0">
                <a:solidFill>
                  <a:schemeClr val="tx1"/>
                </a:solidFill>
              </a:rPr>
              <a:t>A&amp;A / User </a:t>
            </a:r>
            <a:r>
              <a:rPr lang="de-DE" sz="1200" dirty="0" err="1" smtClean="0">
                <a:solidFill>
                  <a:schemeClr val="tx1"/>
                </a:solidFill>
              </a:rPr>
              <a:t>Mgmt</a:t>
            </a:r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17" name="Inhaltsplatzhalter 8"/>
          <p:cNvSpPr txBox="1">
            <a:spLocks/>
          </p:cNvSpPr>
          <p:nvPr/>
        </p:nvSpPr>
        <p:spPr>
          <a:xfrm>
            <a:off x="380492" y="424090"/>
            <a:ext cx="237626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smtClean="0"/>
              <a:t>Funktionale Architektur</a:t>
            </a:r>
            <a:endParaRPr lang="de-DE" b="1" dirty="0"/>
          </a:p>
        </p:txBody>
      </p:sp>
      <p:sp>
        <p:nvSpPr>
          <p:cNvPr id="18" name="Inhaltsplatzhalter 8"/>
          <p:cNvSpPr txBox="1">
            <a:spLocks/>
          </p:cNvSpPr>
          <p:nvPr/>
        </p:nvSpPr>
        <p:spPr>
          <a:xfrm>
            <a:off x="272480" y="2165375"/>
            <a:ext cx="10801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smtClean="0"/>
              <a:t>Servers</a:t>
            </a:r>
            <a:br>
              <a:rPr lang="de-DE" b="1" dirty="0" smtClean="0"/>
            </a:br>
            <a:r>
              <a:rPr lang="de-DE" b="1" dirty="0" err="1" smtClean="0"/>
              <a:t>side</a:t>
            </a:r>
            <a:endParaRPr lang="de-DE" b="1" dirty="0"/>
          </a:p>
        </p:txBody>
      </p:sp>
      <p:sp>
        <p:nvSpPr>
          <p:cNvPr id="19" name="Inhaltsplatzhalter 8"/>
          <p:cNvSpPr txBox="1">
            <a:spLocks/>
          </p:cNvSpPr>
          <p:nvPr/>
        </p:nvSpPr>
        <p:spPr>
          <a:xfrm>
            <a:off x="272480" y="3573016"/>
            <a:ext cx="10801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smtClean="0"/>
              <a:t>Desktop</a:t>
            </a:r>
            <a:br>
              <a:rPr lang="de-DE" b="1" dirty="0" smtClean="0"/>
            </a:br>
            <a:r>
              <a:rPr lang="de-DE" b="1" dirty="0" smtClean="0"/>
              <a:t>side</a:t>
            </a:r>
            <a:r>
              <a:rPr lang="de-DE" b="1" baseline="30000" dirty="0" smtClean="0"/>
              <a:t>1</a:t>
            </a:r>
            <a:endParaRPr lang="de-DE" b="1" baseline="30000" dirty="0"/>
          </a:p>
        </p:txBody>
      </p:sp>
      <p:sp>
        <p:nvSpPr>
          <p:cNvPr id="20" name="Textplatzhalter 7"/>
          <p:cNvSpPr txBox="1">
            <a:spLocks/>
          </p:cNvSpPr>
          <p:nvPr/>
        </p:nvSpPr>
        <p:spPr>
          <a:xfrm>
            <a:off x="200025" y="6169035"/>
            <a:ext cx="9516731" cy="46679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6088" indent="-446088">
              <a:tabLst>
                <a:tab pos="384175" algn="r"/>
                <a:tab pos="460375" algn="l"/>
              </a:tabLst>
            </a:pPr>
            <a:r>
              <a:rPr lang="de-DE" sz="900" dirty="0" smtClean="0"/>
              <a:t>	1	Windows, OS X, Linux</a:t>
            </a:r>
          </a:p>
          <a:p>
            <a:pPr marL="446088" indent="-446088">
              <a:tabLst>
                <a:tab pos="384175" algn="r"/>
                <a:tab pos="460375" algn="l"/>
              </a:tabLst>
            </a:pPr>
            <a:r>
              <a:rPr lang="de-DE" sz="900" dirty="0"/>
              <a:t>	</a:t>
            </a:r>
            <a:r>
              <a:rPr lang="de-DE" sz="900" dirty="0" smtClean="0"/>
              <a:t>2	Android, iOS</a:t>
            </a:r>
          </a:p>
          <a:p>
            <a:pPr marL="446088" indent="-446088">
              <a:tabLst>
                <a:tab pos="384175" algn="r"/>
                <a:tab pos="460375" algn="l"/>
              </a:tabLst>
            </a:pPr>
            <a:r>
              <a:rPr lang="de-DE" sz="900" dirty="0" smtClean="0"/>
              <a:t>	3 	on </a:t>
            </a:r>
            <a:r>
              <a:rPr lang="de-DE" sz="900" dirty="0" err="1" smtClean="0"/>
              <a:t>metadata</a:t>
            </a:r>
            <a:r>
              <a:rPr lang="de-DE" sz="900" dirty="0" smtClean="0"/>
              <a:t> </a:t>
            </a:r>
            <a:r>
              <a:rPr lang="de-DE" sz="900" dirty="0" err="1" smtClean="0"/>
              <a:t>and</a:t>
            </a:r>
            <a:r>
              <a:rPr lang="de-DE" sz="900" dirty="0" smtClean="0"/>
              <a:t> </a:t>
            </a:r>
            <a:r>
              <a:rPr lang="de-DE" sz="900" dirty="0" err="1" smtClean="0"/>
              <a:t>content</a:t>
            </a:r>
            <a:r>
              <a:rPr lang="de-DE" sz="900" dirty="0" smtClean="0"/>
              <a:t> </a:t>
            </a:r>
          </a:p>
        </p:txBody>
      </p:sp>
      <p:sp>
        <p:nvSpPr>
          <p:cNvPr id="21" name="Inhaltsplatzhalter 8"/>
          <p:cNvSpPr txBox="1">
            <a:spLocks/>
          </p:cNvSpPr>
          <p:nvPr/>
        </p:nvSpPr>
        <p:spPr>
          <a:xfrm>
            <a:off x="272480" y="4472120"/>
            <a:ext cx="10801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smtClean="0"/>
              <a:t>Mobile</a:t>
            </a:r>
            <a:br>
              <a:rPr lang="de-DE" b="1" dirty="0" smtClean="0"/>
            </a:br>
            <a:r>
              <a:rPr lang="de-DE" b="1" dirty="0" smtClean="0"/>
              <a:t>side</a:t>
            </a:r>
            <a:r>
              <a:rPr lang="de-DE" b="1" baseline="30000" dirty="0" smtClean="0"/>
              <a:t>2</a:t>
            </a:r>
            <a:endParaRPr lang="de-DE" b="1" baseline="30000" dirty="0"/>
          </a:p>
        </p:txBody>
      </p:sp>
      <p:sp>
        <p:nvSpPr>
          <p:cNvPr id="22" name="Inhaltsplatzhalter 8"/>
          <p:cNvSpPr txBox="1">
            <a:spLocks/>
          </p:cNvSpPr>
          <p:nvPr/>
        </p:nvSpPr>
        <p:spPr>
          <a:xfrm>
            <a:off x="1280592" y="2165375"/>
            <a:ext cx="1281742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HD/SSD, HSM, S3, WORM</a:t>
            </a:r>
          </a:p>
          <a:p>
            <a:pPr lvl="1"/>
            <a:r>
              <a:rPr lang="de-DE" sz="1000" dirty="0" smtClean="0"/>
              <a:t>Encryption optional</a:t>
            </a:r>
          </a:p>
          <a:p>
            <a:pPr lvl="1"/>
            <a:r>
              <a:rPr lang="de-DE" sz="1000" dirty="0" smtClean="0"/>
              <a:t>Backup-</a:t>
            </a:r>
            <a:r>
              <a:rPr lang="de-DE" sz="1000" dirty="0" err="1" smtClean="0"/>
              <a:t>ready</a:t>
            </a:r>
            <a:endParaRPr lang="de-DE" sz="1000" dirty="0"/>
          </a:p>
        </p:txBody>
      </p:sp>
      <p:sp>
        <p:nvSpPr>
          <p:cNvPr id="23" name="Inhaltsplatzhalter 8"/>
          <p:cNvSpPr txBox="1">
            <a:spLocks/>
          </p:cNvSpPr>
          <p:nvPr/>
        </p:nvSpPr>
        <p:spPr>
          <a:xfrm>
            <a:off x="2663146" y="3573016"/>
            <a:ext cx="1281742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All </a:t>
            </a:r>
            <a:r>
              <a:rPr lang="de-DE" sz="1000" dirty="0" err="1" smtClean="0"/>
              <a:t>server</a:t>
            </a:r>
            <a:r>
              <a:rPr lang="de-DE" sz="1000" dirty="0" smtClean="0"/>
              <a:t> </a:t>
            </a:r>
            <a:r>
              <a:rPr lang="de-DE" sz="1000" dirty="0" err="1" smtClean="0"/>
              <a:t>functions</a:t>
            </a:r>
            <a:endParaRPr lang="de-DE" sz="1000" dirty="0" smtClean="0"/>
          </a:p>
          <a:p>
            <a:pPr lvl="1"/>
            <a:r>
              <a:rPr lang="de-DE" sz="1000" dirty="0" smtClean="0"/>
              <a:t>Replication </a:t>
            </a:r>
            <a:r>
              <a:rPr lang="de-DE" sz="1000" dirty="0" err="1" smtClean="0"/>
              <a:t>admin</a:t>
            </a:r>
            <a:r>
              <a:rPr lang="de-DE" sz="1000" dirty="0" smtClean="0"/>
              <a:t> GUI</a:t>
            </a:r>
          </a:p>
        </p:txBody>
      </p:sp>
      <p:sp>
        <p:nvSpPr>
          <p:cNvPr id="24" name="Inhaltsplatzhalter 8"/>
          <p:cNvSpPr txBox="1">
            <a:spLocks/>
          </p:cNvSpPr>
          <p:nvPr/>
        </p:nvSpPr>
        <p:spPr>
          <a:xfrm>
            <a:off x="6810808" y="2165375"/>
            <a:ext cx="1281742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Single CRUD</a:t>
            </a:r>
            <a:r>
              <a:rPr lang="de-DE" sz="1000" baseline="30000" dirty="0" smtClean="0"/>
              <a:t>3</a:t>
            </a:r>
          </a:p>
          <a:p>
            <a:pPr lvl="1"/>
            <a:r>
              <a:rPr lang="de-DE" sz="1000" dirty="0" err="1" smtClean="0"/>
              <a:t>Mass</a:t>
            </a:r>
            <a:r>
              <a:rPr lang="de-DE" sz="1000" dirty="0" smtClean="0"/>
              <a:t> CRUD</a:t>
            </a:r>
            <a:r>
              <a:rPr lang="de-DE" sz="1000" baseline="30000" dirty="0" smtClean="0"/>
              <a:t>3</a:t>
            </a:r>
          </a:p>
          <a:p>
            <a:pPr lvl="1"/>
            <a:r>
              <a:rPr lang="de-DE" sz="1000" dirty="0" smtClean="0"/>
              <a:t>Search</a:t>
            </a:r>
          </a:p>
          <a:p>
            <a:pPr lvl="1"/>
            <a:r>
              <a:rPr lang="de-DE" sz="1000" dirty="0" smtClean="0"/>
              <a:t>Export </a:t>
            </a:r>
            <a:r>
              <a:rPr lang="de-DE" sz="1000" dirty="0" err="1" smtClean="0"/>
              <a:t>dump</a:t>
            </a:r>
            <a:r>
              <a:rPr lang="de-DE" sz="1000" dirty="0" smtClean="0"/>
              <a:t> </a:t>
            </a:r>
            <a:r>
              <a:rPr lang="de-DE" sz="1000" dirty="0" err="1" smtClean="0"/>
              <a:t>for</a:t>
            </a:r>
            <a:r>
              <a:rPr lang="de-DE" sz="1000" dirty="0" smtClean="0"/>
              <a:t> LZA </a:t>
            </a:r>
            <a:r>
              <a:rPr lang="de-DE" sz="1000" dirty="0" err="1" smtClean="0"/>
              <a:t>and</a:t>
            </a:r>
            <a:r>
              <a:rPr lang="de-DE" sz="1000" dirty="0" smtClean="0"/>
              <a:t> </a:t>
            </a:r>
            <a:r>
              <a:rPr lang="de-DE" sz="1000" dirty="0" err="1" smtClean="0"/>
              <a:t>migration</a:t>
            </a:r>
            <a:endParaRPr lang="de-DE" sz="1000" dirty="0"/>
          </a:p>
        </p:txBody>
      </p:sp>
      <p:sp>
        <p:nvSpPr>
          <p:cNvPr id="25" name="Inhaltsplatzhalter 8"/>
          <p:cNvSpPr txBox="1">
            <a:spLocks/>
          </p:cNvSpPr>
          <p:nvPr/>
        </p:nvSpPr>
        <p:spPr>
          <a:xfrm>
            <a:off x="5428254" y="2165375"/>
            <a:ext cx="128174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Folder </a:t>
            </a:r>
            <a:r>
              <a:rPr lang="de-DE" sz="1000" dirty="0" err="1" smtClean="0"/>
              <a:t>view</a:t>
            </a:r>
            <a:endParaRPr lang="de-DE" sz="1000" dirty="0" smtClean="0"/>
          </a:p>
          <a:p>
            <a:pPr lvl="1"/>
            <a:r>
              <a:rPr lang="de-DE" sz="1000" dirty="0" smtClean="0"/>
              <a:t>Album </a:t>
            </a:r>
            <a:r>
              <a:rPr lang="de-DE" sz="1000" dirty="0" err="1" smtClean="0"/>
              <a:t>view</a:t>
            </a:r>
            <a:endParaRPr lang="de-DE" sz="1000" dirty="0" smtClean="0"/>
          </a:p>
          <a:p>
            <a:pPr lvl="1"/>
            <a:r>
              <a:rPr lang="de-DE" sz="1000" dirty="0" smtClean="0"/>
              <a:t>CRUD</a:t>
            </a:r>
            <a:r>
              <a:rPr lang="de-DE" sz="1000" baseline="30000" dirty="0" smtClean="0"/>
              <a:t>3</a:t>
            </a:r>
          </a:p>
          <a:p>
            <a:pPr lvl="1"/>
            <a:r>
              <a:rPr lang="de-DE" sz="1000" dirty="0" err="1" smtClean="0"/>
              <a:t>mass</a:t>
            </a:r>
            <a:r>
              <a:rPr lang="de-DE" sz="1000" dirty="0" smtClean="0"/>
              <a:t> CRUD</a:t>
            </a:r>
            <a:r>
              <a:rPr lang="de-DE" sz="1000" baseline="30000" dirty="0" smtClean="0"/>
              <a:t>3</a:t>
            </a:r>
          </a:p>
        </p:txBody>
      </p:sp>
      <p:sp>
        <p:nvSpPr>
          <p:cNvPr id="26" name="Inhaltsplatzhalter 8"/>
          <p:cNvSpPr txBox="1">
            <a:spLocks/>
          </p:cNvSpPr>
          <p:nvPr/>
        </p:nvSpPr>
        <p:spPr>
          <a:xfrm>
            <a:off x="2663146" y="2165375"/>
            <a:ext cx="1281742" cy="11798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err="1" smtClean="0"/>
              <a:t>Merges</a:t>
            </a:r>
            <a:r>
              <a:rPr lang="de-DE" sz="1000" dirty="0"/>
              <a:t>/</a:t>
            </a:r>
            <a:r>
              <a:rPr lang="de-DE" sz="1000" dirty="0" err="1" smtClean="0"/>
              <a:t>branches</a:t>
            </a:r>
            <a:endParaRPr lang="de-DE" sz="1000" dirty="0" smtClean="0"/>
          </a:p>
          <a:p>
            <a:pPr lvl="1"/>
            <a:r>
              <a:rPr lang="de-DE" sz="1000" dirty="0" err="1" smtClean="0"/>
              <a:t>Revisions</a:t>
            </a:r>
            <a:endParaRPr lang="de-DE" sz="1000" dirty="0" smtClean="0"/>
          </a:p>
          <a:p>
            <a:pPr lvl="1"/>
            <a:r>
              <a:rPr lang="de-DE" sz="1000" dirty="0" err="1" smtClean="0"/>
              <a:t>Storing</a:t>
            </a:r>
            <a:r>
              <a:rPr lang="de-DE" sz="1000" dirty="0" smtClean="0"/>
              <a:t> /transfer-Mode </a:t>
            </a:r>
            <a:r>
              <a:rPr lang="de-DE" sz="1000" dirty="0" err="1" smtClean="0"/>
              <a:t>option</a:t>
            </a:r>
            <a:endParaRPr lang="de-DE" sz="1000" dirty="0" smtClean="0"/>
          </a:p>
          <a:p>
            <a:pPr lvl="1"/>
            <a:r>
              <a:rPr lang="de-DE" sz="1000" dirty="0" err="1" smtClean="0"/>
              <a:t>Encrypted</a:t>
            </a:r>
            <a:r>
              <a:rPr lang="de-DE" sz="1000" dirty="0" smtClean="0"/>
              <a:t> </a:t>
            </a:r>
            <a:r>
              <a:rPr lang="de-DE" sz="1000" dirty="0" err="1" smtClean="0"/>
              <a:t>transfer</a:t>
            </a:r>
            <a:r>
              <a:rPr lang="de-DE" sz="1000" dirty="0" smtClean="0"/>
              <a:t> </a:t>
            </a:r>
            <a:r>
              <a:rPr lang="de-DE" sz="1000" dirty="0" err="1" smtClean="0"/>
              <a:t>option</a:t>
            </a:r>
            <a:endParaRPr lang="de-DE" sz="1000" dirty="0" smtClean="0"/>
          </a:p>
          <a:p>
            <a:pPr lvl="1"/>
            <a:r>
              <a:rPr lang="de-DE" sz="1000" dirty="0" smtClean="0"/>
              <a:t>SSH-style </a:t>
            </a:r>
            <a:r>
              <a:rPr lang="de-DE" sz="1000" dirty="0" err="1" smtClean="0"/>
              <a:t>auth</a:t>
            </a:r>
            <a:endParaRPr lang="de-DE" sz="1000" dirty="0" smtClean="0"/>
          </a:p>
        </p:txBody>
      </p:sp>
      <p:sp>
        <p:nvSpPr>
          <p:cNvPr id="27" name="Inhaltsplatzhalter 8"/>
          <p:cNvSpPr txBox="1">
            <a:spLocks/>
          </p:cNvSpPr>
          <p:nvPr/>
        </p:nvSpPr>
        <p:spPr>
          <a:xfrm>
            <a:off x="4053413" y="2165375"/>
            <a:ext cx="1281742" cy="12824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GUI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smtClean="0"/>
              <a:t>User Admin</a:t>
            </a:r>
          </a:p>
          <a:p>
            <a:pPr lvl="1"/>
            <a:r>
              <a:rPr lang="de-DE" sz="1000" dirty="0" smtClean="0"/>
              <a:t>LDAP-Connector</a:t>
            </a:r>
          </a:p>
          <a:p>
            <a:pPr lvl="1"/>
            <a:r>
              <a:rPr lang="de-DE" sz="1000" dirty="0" smtClean="0"/>
              <a:t>Invitation-style </a:t>
            </a:r>
            <a:r>
              <a:rPr lang="de-DE" sz="1000" dirty="0" err="1" smtClean="0"/>
              <a:t>signup</a:t>
            </a:r>
            <a:r>
              <a:rPr lang="de-DE" sz="1000" dirty="0" smtClean="0"/>
              <a:t> </a:t>
            </a:r>
            <a:r>
              <a:rPr lang="de-DE" sz="1000" dirty="0" err="1" smtClean="0"/>
              <a:t>for</a:t>
            </a:r>
            <a:r>
              <a:rPr lang="de-DE" sz="1000" dirty="0" smtClean="0"/>
              <a:t> </a:t>
            </a:r>
            <a:r>
              <a:rPr lang="de-DE" sz="1000" dirty="0" err="1" smtClean="0"/>
              <a:t>new</a:t>
            </a:r>
            <a:r>
              <a:rPr lang="de-DE" sz="1000" dirty="0" smtClean="0"/>
              <a:t> </a:t>
            </a:r>
            <a:r>
              <a:rPr lang="de-DE" sz="1000" dirty="0" err="1" smtClean="0"/>
              <a:t>users</a:t>
            </a:r>
            <a:r>
              <a:rPr lang="de-DE" sz="1000" dirty="0" smtClean="0"/>
              <a:t> (</a:t>
            </a:r>
            <a:r>
              <a:rPr lang="de-DE" sz="1000" dirty="0" err="1" smtClean="0"/>
              <a:t>collaborating</a:t>
            </a:r>
            <a:r>
              <a:rPr lang="de-DE" sz="1000" dirty="0" smtClean="0"/>
              <a:t> </a:t>
            </a:r>
            <a:r>
              <a:rPr lang="de-DE" sz="1000" dirty="0" err="1" smtClean="0"/>
              <a:t>researchers</a:t>
            </a:r>
            <a:r>
              <a:rPr lang="de-DE" sz="1000" dirty="0" smtClean="0"/>
              <a:t>)</a:t>
            </a:r>
            <a:endParaRPr lang="de-DE" sz="1000" dirty="0"/>
          </a:p>
        </p:txBody>
      </p:sp>
      <p:sp>
        <p:nvSpPr>
          <p:cNvPr id="28" name="Inhaltsplatzhalter 8"/>
          <p:cNvSpPr txBox="1">
            <a:spLocks/>
          </p:cNvSpPr>
          <p:nvPr/>
        </p:nvSpPr>
        <p:spPr>
          <a:xfrm>
            <a:off x="1280592" y="3573016"/>
            <a:ext cx="1281742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HD/SSD</a:t>
            </a:r>
          </a:p>
          <a:p>
            <a:pPr lvl="1"/>
            <a:r>
              <a:rPr lang="de-DE" sz="1000" dirty="0" smtClean="0"/>
              <a:t>USB-</a:t>
            </a:r>
            <a:r>
              <a:rPr lang="de-DE" sz="1000" dirty="0" err="1" smtClean="0"/>
              <a:t>device</a:t>
            </a:r>
            <a:r>
              <a:rPr lang="de-DE" sz="1000" dirty="0"/>
              <a:t> </a:t>
            </a:r>
            <a:r>
              <a:rPr lang="de-DE" sz="1000" dirty="0" err="1" smtClean="0"/>
              <a:t>and</a:t>
            </a:r>
            <a:r>
              <a:rPr lang="de-DE" sz="1000" dirty="0" smtClean="0"/>
              <a:t> SD-support</a:t>
            </a:r>
          </a:p>
          <a:p>
            <a:pPr lvl="1"/>
            <a:r>
              <a:rPr lang="de-DE" sz="1000" dirty="0" smtClean="0"/>
              <a:t>Encryption optional</a:t>
            </a:r>
          </a:p>
        </p:txBody>
      </p:sp>
      <p:sp>
        <p:nvSpPr>
          <p:cNvPr id="29" name="Inhaltsplatzhalter 8"/>
          <p:cNvSpPr txBox="1">
            <a:spLocks/>
          </p:cNvSpPr>
          <p:nvPr/>
        </p:nvSpPr>
        <p:spPr>
          <a:xfrm>
            <a:off x="8193360" y="2165375"/>
            <a:ext cx="1281742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err="1" smtClean="0"/>
              <a:t>Stored</a:t>
            </a:r>
            <a:r>
              <a:rPr lang="de-DE" sz="1000" dirty="0" smtClean="0"/>
              <a:t> </a:t>
            </a:r>
            <a:r>
              <a:rPr lang="de-DE" sz="1000" dirty="0" err="1" smtClean="0"/>
              <a:t>analytic</a:t>
            </a:r>
            <a:r>
              <a:rPr lang="de-DE" sz="1000" dirty="0" smtClean="0"/>
              <a:t>/</a:t>
            </a:r>
            <a:r>
              <a:rPr lang="de-DE" sz="1000" dirty="0" err="1" smtClean="0"/>
              <a:t>conversion</a:t>
            </a:r>
            <a:r>
              <a:rPr lang="de-DE" sz="1000" dirty="0" smtClean="0"/>
              <a:t> </a:t>
            </a:r>
            <a:r>
              <a:rPr lang="de-DE" sz="1000" dirty="0" err="1" smtClean="0"/>
              <a:t>procedures</a:t>
            </a:r>
            <a:endParaRPr lang="de-DE" sz="1000" dirty="0"/>
          </a:p>
        </p:txBody>
      </p:sp>
      <p:sp>
        <p:nvSpPr>
          <p:cNvPr id="30" name="Inhaltsplatzhalter 8"/>
          <p:cNvSpPr txBox="1">
            <a:spLocks/>
          </p:cNvSpPr>
          <p:nvPr/>
        </p:nvSpPr>
        <p:spPr>
          <a:xfrm>
            <a:off x="5428254" y="3573016"/>
            <a:ext cx="128174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Browser</a:t>
            </a:r>
            <a:endParaRPr lang="de-DE" sz="1000" baseline="30000" dirty="0" smtClean="0"/>
          </a:p>
        </p:txBody>
      </p:sp>
      <p:sp>
        <p:nvSpPr>
          <p:cNvPr id="31" name="Inhaltsplatzhalter 8"/>
          <p:cNvSpPr txBox="1">
            <a:spLocks/>
          </p:cNvSpPr>
          <p:nvPr/>
        </p:nvSpPr>
        <p:spPr>
          <a:xfrm>
            <a:off x="5428254" y="4472120"/>
            <a:ext cx="128174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Browser</a:t>
            </a:r>
            <a:endParaRPr lang="de-DE" sz="1000" baseline="30000" dirty="0" smtClean="0"/>
          </a:p>
        </p:txBody>
      </p:sp>
      <p:sp>
        <p:nvSpPr>
          <p:cNvPr id="32" name="Inhaltsplatzhalter 8"/>
          <p:cNvSpPr txBox="1">
            <a:spLocks/>
          </p:cNvSpPr>
          <p:nvPr/>
        </p:nvSpPr>
        <p:spPr>
          <a:xfrm>
            <a:off x="2663146" y="4472120"/>
            <a:ext cx="1281742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All </a:t>
            </a:r>
            <a:r>
              <a:rPr lang="de-DE" sz="1000" dirty="0" err="1" smtClean="0"/>
              <a:t>server</a:t>
            </a:r>
            <a:r>
              <a:rPr lang="de-DE" sz="1000" dirty="0" smtClean="0"/>
              <a:t> </a:t>
            </a:r>
            <a:r>
              <a:rPr lang="de-DE" sz="1000" dirty="0" err="1" smtClean="0"/>
              <a:t>functions</a:t>
            </a:r>
            <a:endParaRPr lang="de-DE" sz="1000" dirty="0" smtClean="0"/>
          </a:p>
          <a:p>
            <a:pPr lvl="1"/>
            <a:r>
              <a:rPr lang="de-DE" sz="1000" dirty="0" smtClean="0"/>
              <a:t>Replication </a:t>
            </a:r>
            <a:r>
              <a:rPr lang="de-DE" sz="1000" dirty="0" err="1" smtClean="0"/>
              <a:t>admin</a:t>
            </a:r>
            <a:r>
              <a:rPr lang="de-DE" sz="1000" dirty="0" smtClean="0"/>
              <a:t> GUI</a:t>
            </a:r>
          </a:p>
        </p:txBody>
      </p:sp>
      <p:sp>
        <p:nvSpPr>
          <p:cNvPr id="33" name="Inhaltsplatzhalter 8"/>
          <p:cNvSpPr txBox="1">
            <a:spLocks/>
          </p:cNvSpPr>
          <p:nvPr/>
        </p:nvSpPr>
        <p:spPr>
          <a:xfrm>
            <a:off x="1280592" y="4472120"/>
            <a:ext cx="1281742" cy="5129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SSD</a:t>
            </a:r>
          </a:p>
          <a:p>
            <a:pPr lvl="1"/>
            <a:r>
              <a:rPr lang="de-DE" sz="1000" dirty="0" smtClean="0"/>
              <a:t>SD-support</a:t>
            </a:r>
          </a:p>
          <a:p>
            <a:pPr lvl="1"/>
            <a:r>
              <a:rPr lang="de-DE" sz="1000" dirty="0" smtClean="0"/>
              <a:t>Encryption optional</a:t>
            </a:r>
          </a:p>
        </p:txBody>
      </p:sp>
      <p:sp>
        <p:nvSpPr>
          <p:cNvPr id="34" name="Inhaltsplatzhalter 8"/>
          <p:cNvSpPr txBox="1">
            <a:spLocks/>
          </p:cNvSpPr>
          <p:nvPr/>
        </p:nvSpPr>
        <p:spPr>
          <a:xfrm>
            <a:off x="4045700" y="3573016"/>
            <a:ext cx="1281742" cy="8207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Browser</a:t>
            </a:r>
            <a:endParaRPr lang="de-DE" sz="1000" dirty="0"/>
          </a:p>
          <a:p>
            <a:pPr lvl="1"/>
            <a:r>
              <a:rPr lang="de-DE" sz="1000" dirty="0" smtClean="0"/>
              <a:t>Replication </a:t>
            </a:r>
            <a:r>
              <a:rPr lang="de-DE" sz="1000" dirty="0" err="1" smtClean="0"/>
              <a:t>auth</a:t>
            </a:r>
            <a:r>
              <a:rPr lang="de-DE" sz="1000" dirty="0" smtClean="0"/>
              <a:t> </a:t>
            </a:r>
            <a:r>
              <a:rPr lang="de-DE" sz="1000" dirty="0" err="1" smtClean="0"/>
              <a:t>credentials</a:t>
            </a:r>
            <a:r>
              <a:rPr lang="de-DE" sz="1000" dirty="0" smtClean="0"/>
              <a:t> </a:t>
            </a:r>
            <a:r>
              <a:rPr lang="de-DE" sz="1000" dirty="0" err="1" smtClean="0"/>
              <a:t>mgmt</a:t>
            </a:r>
            <a:endParaRPr lang="de-DE" sz="1000" dirty="0" smtClean="0"/>
          </a:p>
          <a:p>
            <a:pPr lvl="1"/>
            <a:r>
              <a:rPr lang="de-DE" sz="1000" dirty="0" smtClean="0"/>
              <a:t>I/O-API </a:t>
            </a:r>
            <a:r>
              <a:rPr lang="de-DE" sz="1000" dirty="0" err="1" smtClean="0"/>
              <a:t>credentials</a:t>
            </a:r>
            <a:r>
              <a:rPr lang="de-DE" sz="1000" dirty="0" smtClean="0"/>
              <a:t> </a:t>
            </a:r>
            <a:r>
              <a:rPr lang="de-DE" sz="1000" dirty="0" err="1" smtClean="0"/>
              <a:t>mgmt</a:t>
            </a:r>
            <a:endParaRPr lang="de-DE" sz="1000" dirty="0" smtClean="0"/>
          </a:p>
        </p:txBody>
      </p:sp>
      <p:sp>
        <p:nvSpPr>
          <p:cNvPr id="35" name="Inhaltsplatzhalter 8"/>
          <p:cNvSpPr txBox="1">
            <a:spLocks/>
          </p:cNvSpPr>
          <p:nvPr/>
        </p:nvSpPr>
        <p:spPr>
          <a:xfrm>
            <a:off x="4045700" y="4472120"/>
            <a:ext cx="1281742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Browser</a:t>
            </a:r>
          </a:p>
          <a:p>
            <a:pPr lvl="1"/>
            <a:r>
              <a:rPr lang="de-DE" sz="1000" dirty="0"/>
              <a:t>Replication </a:t>
            </a:r>
            <a:r>
              <a:rPr lang="de-DE" sz="1000" dirty="0" err="1"/>
              <a:t>auth</a:t>
            </a:r>
            <a:r>
              <a:rPr lang="de-DE" sz="1000" dirty="0"/>
              <a:t> </a:t>
            </a:r>
            <a:r>
              <a:rPr lang="de-DE" sz="1000" dirty="0" err="1"/>
              <a:t>credentials</a:t>
            </a:r>
            <a:r>
              <a:rPr lang="de-DE" sz="1000" dirty="0"/>
              <a:t> </a:t>
            </a:r>
            <a:r>
              <a:rPr lang="de-DE" sz="1000" dirty="0" err="1"/>
              <a:t>mgmt</a:t>
            </a:r>
            <a:endParaRPr lang="de-DE" sz="1000" dirty="0"/>
          </a:p>
          <a:p>
            <a:pPr lvl="1"/>
            <a:endParaRPr lang="de-DE" sz="1000" baseline="30000" dirty="0" smtClean="0"/>
          </a:p>
        </p:txBody>
      </p:sp>
      <p:sp>
        <p:nvSpPr>
          <p:cNvPr id="38" name="Inhaltsplatzhalter 8"/>
          <p:cNvSpPr txBox="1">
            <a:spLocks/>
          </p:cNvSpPr>
          <p:nvPr/>
        </p:nvSpPr>
        <p:spPr>
          <a:xfrm>
            <a:off x="6810808" y="3573016"/>
            <a:ext cx="1281742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Python </a:t>
            </a:r>
            <a:r>
              <a:rPr lang="de-DE" sz="1000" dirty="0" err="1" smtClean="0"/>
              <a:t>connector</a:t>
            </a:r>
            <a:endParaRPr lang="de-DE" sz="1000" dirty="0" smtClean="0"/>
          </a:p>
          <a:p>
            <a:pPr lvl="1"/>
            <a:r>
              <a:rPr lang="de-DE" sz="1000" dirty="0" err="1" smtClean="0"/>
              <a:t>MatLab</a:t>
            </a:r>
            <a:r>
              <a:rPr lang="de-DE" sz="1000" dirty="0" smtClean="0"/>
              <a:t> </a:t>
            </a:r>
            <a:r>
              <a:rPr lang="de-DE" sz="1000" dirty="0" err="1" smtClean="0"/>
              <a:t>connector</a:t>
            </a:r>
            <a:endParaRPr lang="de-DE" sz="1000" dirty="0" smtClean="0"/>
          </a:p>
          <a:p>
            <a:pPr lvl="1"/>
            <a:r>
              <a:rPr lang="de-DE" sz="1000" dirty="0" err="1" smtClean="0"/>
              <a:t>linux</a:t>
            </a:r>
            <a:r>
              <a:rPr lang="de-DE" sz="1000" dirty="0" smtClean="0"/>
              <a:t> </a:t>
            </a:r>
            <a:r>
              <a:rPr lang="de-DE" sz="1000" dirty="0" err="1" smtClean="0"/>
              <a:t>command</a:t>
            </a:r>
            <a:r>
              <a:rPr lang="de-DE" sz="1000" dirty="0" smtClean="0"/>
              <a:t> + </a:t>
            </a:r>
            <a:r>
              <a:rPr lang="de-DE" sz="1000" dirty="0" err="1" smtClean="0"/>
              <a:t>manpg</a:t>
            </a:r>
            <a:endParaRPr lang="de-DE" sz="1000" dirty="0"/>
          </a:p>
        </p:txBody>
      </p:sp>
      <p:sp>
        <p:nvSpPr>
          <p:cNvPr id="39" name="Inhaltsplatzhalter 8"/>
          <p:cNvSpPr txBox="1">
            <a:spLocks/>
          </p:cNvSpPr>
          <p:nvPr/>
        </p:nvSpPr>
        <p:spPr>
          <a:xfrm>
            <a:off x="8278431" y="3573016"/>
            <a:ext cx="1281742" cy="5129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Python </a:t>
            </a:r>
            <a:r>
              <a:rPr lang="de-DE" sz="1000" dirty="0" err="1" smtClean="0"/>
              <a:t>ldemo</a:t>
            </a:r>
            <a:endParaRPr lang="de-DE" sz="1000" dirty="0" smtClean="0"/>
          </a:p>
          <a:p>
            <a:pPr lvl="1"/>
            <a:r>
              <a:rPr lang="de-DE" sz="1000" dirty="0" err="1" smtClean="0"/>
              <a:t>MatLab</a:t>
            </a:r>
            <a:r>
              <a:rPr lang="de-DE" sz="1000" dirty="0"/>
              <a:t> </a:t>
            </a:r>
            <a:r>
              <a:rPr lang="de-DE" sz="1000" dirty="0" err="1" smtClean="0"/>
              <a:t>demo</a:t>
            </a:r>
            <a:endParaRPr lang="de-DE" sz="1000" dirty="0" smtClean="0"/>
          </a:p>
          <a:p>
            <a:pPr lvl="1"/>
            <a:r>
              <a:rPr lang="de-DE" sz="1000" dirty="0" err="1" smtClean="0"/>
              <a:t>bash</a:t>
            </a:r>
            <a:r>
              <a:rPr lang="de-DE" sz="1000" dirty="0" smtClean="0"/>
              <a:t> </a:t>
            </a:r>
            <a:r>
              <a:rPr lang="de-DE" sz="1000" dirty="0" err="1" smtClean="0"/>
              <a:t>demoscript</a:t>
            </a:r>
            <a:endParaRPr lang="de-DE" sz="1000" dirty="0"/>
          </a:p>
        </p:txBody>
      </p:sp>
      <p:sp>
        <p:nvSpPr>
          <p:cNvPr id="40" name="Inhaltsplatzhalter 8"/>
          <p:cNvSpPr txBox="1">
            <a:spLocks/>
          </p:cNvSpPr>
          <p:nvPr/>
        </p:nvSpPr>
        <p:spPr>
          <a:xfrm>
            <a:off x="6810808" y="4472120"/>
            <a:ext cx="1281742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Android </a:t>
            </a:r>
            <a:r>
              <a:rPr lang="de-DE" sz="1000" dirty="0" err="1" smtClean="0"/>
              <a:t>lib</a:t>
            </a:r>
            <a:endParaRPr lang="de-DE" sz="1000" dirty="0" smtClean="0"/>
          </a:p>
          <a:p>
            <a:pPr lvl="1"/>
            <a:r>
              <a:rPr lang="de-DE" sz="1000" dirty="0" smtClean="0"/>
              <a:t>iOS </a:t>
            </a:r>
            <a:r>
              <a:rPr lang="de-DE" sz="1000" dirty="0" err="1" smtClean="0"/>
              <a:t>lib</a:t>
            </a:r>
            <a:endParaRPr lang="de-DE" sz="1000" dirty="0"/>
          </a:p>
        </p:txBody>
      </p:sp>
      <p:sp>
        <p:nvSpPr>
          <p:cNvPr id="41" name="Inhaltsplatzhalter 8"/>
          <p:cNvSpPr txBox="1">
            <a:spLocks/>
          </p:cNvSpPr>
          <p:nvPr/>
        </p:nvSpPr>
        <p:spPr>
          <a:xfrm>
            <a:off x="8278431" y="4472120"/>
            <a:ext cx="1281742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MPDL </a:t>
            </a:r>
            <a:r>
              <a:rPr lang="de-DE" sz="1000" dirty="0" err="1" smtClean="0"/>
              <a:t>cam</a:t>
            </a:r>
            <a:endParaRPr lang="de-DE" sz="1000" dirty="0" smtClean="0"/>
          </a:p>
          <a:p>
            <a:pPr lvl="1"/>
            <a:r>
              <a:rPr lang="de-DE" sz="1000" dirty="0" err="1" smtClean="0"/>
              <a:t>Syncing</a:t>
            </a:r>
            <a:r>
              <a:rPr lang="de-DE" sz="1000" dirty="0" smtClean="0"/>
              <a:t>? (Data </a:t>
            </a:r>
            <a:r>
              <a:rPr lang="de-DE" sz="1000" dirty="0" err="1" smtClean="0"/>
              <a:t>collector</a:t>
            </a:r>
            <a:r>
              <a:rPr lang="de-DE" sz="1000" dirty="0" smtClean="0"/>
              <a:t> </a:t>
            </a:r>
            <a:r>
              <a:rPr lang="de-DE" sz="1000" dirty="0" err="1" smtClean="0"/>
              <a:t>app</a:t>
            </a:r>
            <a:r>
              <a:rPr lang="de-DE" sz="1000" dirty="0" smtClean="0"/>
              <a:t>)</a:t>
            </a:r>
            <a:endParaRPr lang="de-DE" sz="1000" dirty="0"/>
          </a:p>
        </p:txBody>
      </p:sp>
      <p:sp>
        <p:nvSpPr>
          <p:cNvPr id="42" name="Inhaltsplatzhalter 8"/>
          <p:cNvSpPr txBox="1">
            <a:spLocks/>
          </p:cNvSpPr>
          <p:nvPr/>
        </p:nvSpPr>
        <p:spPr>
          <a:xfrm>
            <a:off x="272480" y="5229200"/>
            <a:ext cx="1080120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smtClean="0"/>
              <a:t>Non-</a:t>
            </a:r>
            <a:r>
              <a:rPr lang="de-DE" b="1" dirty="0" err="1" smtClean="0"/>
              <a:t>functional</a:t>
            </a:r>
            <a:r>
              <a:rPr lang="de-DE" b="1" dirty="0" smtClean="0"/>
              <a:t> </a:t>
            </a:r>
            <a:r>
              <a:rPr lang="de-DE" b="1" dirty="0" err="1" smtClean="0"/>
              <a:t>require-ments</a:t>
            </a:r>
            <a:endParaRPr lang="de-DE" b="1" dirty="0" smtClean="0"/>
          </a:p>
        </p:txBody>
      </p:sp>
      <p:sp>
        <p:nvSpPr>
          <p:cNvPr id="43" name="Inhaltsplatzhalter 8"/>
          <p:cNvSpPr txBox="1">
            <a:spLocks/>
          </p:cNvSpPr>
          <p:nvPr/>
        </p:nvSpPr>
        <p:spPr>
          <a:xfrm>
            <a:off x="5428254" y="5229200"/>
            <a:ext cx="128174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/>
              <a:t>?</a:t>
            </a:r>
            <a:endParaRPr lang="de-DE" sz="1000" baseline="30000" dirty="0" smtClean="0"/>
          </a:p>
        </p:txBody>
      </p:sp>
      <p:sp>
        <p:nvSpPr>
          <p:cNvPr id="44" name="Inhaltsplatzhalter 8"/>
          <p:cNvSpPr txBox="1">
            <a:spLocks/>
          </p:cNvSpPr>
          <p:nvPr/>
        </p:nvSpPr>
        <p:spPr>
          <a:xfrm>
            <a:off x="2663146" y="5229200"/>
            <a:ext cx="128174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LT: </a:t>
            </a:r>
            <a:r>
              <a:rPr lang="de-DE" sz="1000" dirty="0" err="1" smtClean="0"/>
              <a:t>Stability</a:t>
            </a:r>
            <a:r>
              <a:rPr lang="de-DE" sz="1000" dirty="0" smtClean="0"/>
              <a:t> </a:t>
            </a:r>
            <a:r>
              <a:rPr lang="de-DE" sz="1000" dirty="0" err="1" smtClean="0"/>
              <a:t>over</a:t>
            </a:r>
            <a:r>
              <a:rPr lang="de-DE" sz="1000" dirty="0" smtClean="0"/>
              <a:t> 20 </a:t>
            </a:r>
            <a:r>
              <a:rPr lang="de-DE" sz="1000" dirty="0" err="1" smtClean="0"/>
              <a:t>years</a:t>
            </a:r>
            <a:endParaRPr lang="de-DE" sz="1000" dirty="0" smtClean="0"/>
          </a:p>
        </p:txBody>
      </p:sp>
      <p:sp>
        <p:nvSpPr>
          <p:cNvPr id="45" name="Inhaltsplatzhalter 8"/>
          <p:cNvSpPr txBox="1">
            <a:spLocks/>
          </p:cNvSpPr>
          <p:nvPr/>
        </p:nvSpPr>
        <p:spPr>
          <a:xfrm>
            <a:off x="1280592" y="5229200"/>
            <a:ext cx="1281742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LT: Needs </a:t>
            </a:r>
            <a:r>
              <a:rPr lang="de-DE" sz="1000" dirty="0" err="1" smtClean="0"/>
              <a:t>to</a:t>
            </a:r>
            <a:r>
              <a:rPr lang="de-DE" sz="1000" dirty="0" smtClean="0"/>
              <a:t> </a:t>
            </a:r>
            <a:r>
              <a:rPr lang="de-DE" sz="1000" dirty="0" err="1" smtClean="0"/>
              <a:t>work</a:t>
            </a:r>
            <a:r>
              <a:rPr lang="de-DE" sz="1000" dirty="0" smtClean="0"/>
              <a:t> </a:t>
            </a:r>
            <a:r>
              <a:rPr lang="de-DE" sz="1000" dirty="0" err="1" smtClean="0"/>
              <a:t>with</a:t>
            </a:r>
            <a:r>
              <a:rPr lang="de-DE" sz="1000" dirty="0" smtClean="0"/>
              <a:t> </a:t>
            </a:r>
            <a:r>
              <a:rPr lang="de-DE" sz="1000" dirty="0" err="1" smtClean="0"/>
              <a:t>current</a:t>
            </a:r>
            <a:r>
              <a:rPr lang="de-DE" sz="1000" dirty="0" smtClean="0"/>
              <a:t> </a:t>
            </a:r>
            <a:r>
              <a:rPr lang="de-DE" sz="1000" dirty="0" err="1" smtClean="0"/>
              <a:t>storage</a:t>
            </a:r>
            <a:r>
              <a:rPr lang="de-DE" sz="1000" dirty="0" smtClean="0"/>
              <a:t> </a:t>
            </a:r>
            <a:r>
              <a:rPr lang="de-DE" sz="1000" dirty="0" err="1" smtClean="0"/>
              <a:t>options</a:t>
            </a:r>
            <a:endParaRPr lang="de-DE" sz="1000" dirty="0" smtClean="0"/>
          </a:p>
        </p:txBody>
      </p:sp>
      <p:sp>
        <p:nvSpPr>
          <p:cNvPr id="46" name="Inhaltsplatzhalter 8"/>
          <p:cNvSpPr txBox="1">
            <a:spLocks/>
          </p:cNvSpPr>
          <p:nvPr/>
        </p:nvSpPr>
        <p:spPr>
          <a:xfrm>
            <a:off x="4045700" y="5229200"/>
            <a:ext cx="128174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-</a:t>
            </a:r>
            <a:endParaRPr lang="de-DE" sz="1000" baseline="30000" dirty="0" smtClean="0"/>
          </a:p>
        </p:txBody>
      </p:sp>
      <p:sp>
        <p:nvSpPr>
          <p:cNvPr id="47" name="Inhaltsplatzhalter 8"/>
          <p:cNvSpPr txBox="1">
            <a:spLocks/>
          </p:cNvSpPr>
          <p:nvPr/>
        </p:nvSpPr>
        <p:spPr>
          <a:xfrm>
            <a:off x="6810808" y="5229200"/>
            <a:ext cx="128174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LT: </a:t>
            </a:r>
            <a:r>
              <a:rPr lang="de-DE" sz="1000" dirty="0" err="1" smtClean="0"/>
              <a:t>stability</a:t>
            </a:r>
            <a:r>
              <a:rPr lang="de-DE" sz="1000" dirty="0" smtClean="0"/>
              <a:t> </a:t>
            </a:r>
            <a:r>
              <a:rPr lang="de-DE" sz="1000" dirty="0" err="1" smtClean="0"/>
              <a:t>over</a:t>
            </a:r>
            <a:r>
              <a:rPr lang="de-DE" sz="1000" dirty="0" smtClean="0"/>
              <a:t> 10 </a:t>
            </a:r>
            <a:r>
              <a:rPr lang="de-DE" sz="1000" dirty="0" err="1" smtClean="0"/>
              <a:t>years</a:t>
            </a:r>
            <a:endParaRPr lang="de-DE" sz="1000" dirty="0"/>
          </a:p>
        </p:txBody>
      </p:sp>
      <p:sp>
        <p:nvSpPr>
          <p:cNvPr id="48" name="Inhaltsplatzhalter 8"/>
          <p:cNvSpPr txBox="1">
            <a:spLocks/>
          </p:cNvSpPr>
          <p:nvPr/>
        </p:nvSpPr>
        <p:spPr>
          <a:xfrm>
            <a:off x="8278431" y="5229200"/>
            <a:ext cx="128174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dirty="0" smtClean="0"/>
              <a:t>Easy </a:t>
            </a:r>
            <a:r>
              <a:rPr lang="de-DE" sz="1000" dirty="0" err="1" smtClean="0"/>
              <a:t>to</a:t>
            </a:r>
            <a:r>
              <a:rPr lang="de-DE" sz="1000" dirty="0" smtClean="0"/>
              <a:t> </a:t>
            </a:r>
            <a:r>
              <a:rPr lang="de-DE" sz="1000" dirty="0" err="1" smtClean="0"/>
              <a:t>self-develop</a:t>
            </a:r>
            <a:endParaRPr lang="de-DE" sz="1000" dirty="0"/>
          </a:p>
        </p:txBody>
      </p:sp>
      <p:cxnSp>
        <p:nvCxnSpPr>
          <p:cNvPr id="49" name="Gerade Verbindung 48"/>
          <p:cNvCxnSpPr/>
          <p:nvPr/>
        </p:nvCxnSpPr>
        <p:spPr>
          <a:xfrm>
            <a:off x="272480" y="5157192"/>
            <a:ext cx="928769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977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4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caeNgETkiJh79kwB0m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VstNLjY0CAGwpdO4KM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m_zCOo7kyON9WbNsTP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RdvebdHkuIKgUIUzg6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.q0zqoZkaZzhPX.UIx3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VstNLjY0CAGwpdO4KM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VmODQ5Gk6DBP1gtlDF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LstIKLGUuWriFDh4lX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1yCQGYTEWEBQQaXRkW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mZzc_Ez0mtCDGQVSb6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aXVBQt90arWlA4myBo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aXVBQt90arWlA4myBo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mZzc_Ez0mtCDGQVSb6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mZzc_Ez0mtCDGQVSb6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xZ8AsvUkK6rpbhc0mm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lO0kRLeUmqj9vCuGiB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Dynm._yUKDLGCK.AAe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src9JCW0K_yrHEWz967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.q0zqoZkaZzhPX.UIx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.q0zqoZkaZzhPX.UIx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.q0zqoZkaZzhPX.UIx3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.q0zqoZkaZzhPX.UIx3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.q0zqoZkaZzhPX.UIx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gOYB_4A0ap2B6.UrPU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ZRsssZtU274sL0yMJ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Pe8GZ9g0OfRaM1Ex.t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XVLsAsMU29hDkPejSs8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S.NbFRx0.pLpgFBa5k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.q0zqoZkaZzhPX.UIx3A"/>
</p:tagLst>
</file>

<file path=ppt/theme/theme1.xml><?xml version="1.0" encoding="utf-8"?>
<a:theme xmlns:a="http://schemas.openxmlformats.org/drawingml/2006/main" name="MPDL PPT Template (Leerpräsentation) 20120307">
  <a:themeElements>
    <a:clrScheme name="Max Planck Digital Library 01">
      <a:dk1>
        <a:sysClr val="windowText" lastClr="000000"/>
      </a:dk1>
      <a:lt1>
        <a:sysClr val="window" lastClr="FFFFFF"/>
      </a:lt1>
      <a:dk2>
        <a:srgbClr val="113B79"/>
      </a:dk2>
      <a:lt2>
        <a:srgbClr val="F8F8F8"/>
      </a:lt2>
      <a:accent1>
        <a:srgbClr val="CDD8E6"/>
      </a:accent1>
      <a:accent2>
        <a:srgbClr val="EAEAEA"/>
      </a:accent2>
      <a:accent3>
        <a:srgbClr val="C0C0C0"/>
      </a:accent3>
      <a:accent4>
        <a:srgbClr val="969696"/>
      </a:accent4>
      <a:accent5>
        <a:srgbClr val="FF0000"/>
      </a:accent5>
      <a:accent6>
        <a:srgbClr val="00CC00"/>
      </a:accent6>
      <a:hlink>
        <a:srgbClr val="113B79"/>
      </a:hlink>
      <a:folHlink>
        <a:srgbClr val="113B79"/>
      </a:folHlink>
    </a:clrScheme>
    <a:fontScheme name="Max Planck Digital Library 01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ctr"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PDL PPT Template (Leerpräsentation) 20120307</Template>
  <TotalTime>0</TotalTime>
  <Words>480</Words>
  <Application>Microsoft Office PowerPoint</Application>
  <PresentationFormat>A4-Papier (210x297 mm)</PresentationFormat>
  <Paragraphs>174</Paragraphs>
  <Slides>7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9" baseType="lpstr">
      <vt:lpstr>MPDL PPT Template (Leerpräsentation) 20120307</vt:lpstr>
      <vt:lpstr>think-cell Slide</vt:lpstr>
      <vt:lpstr>MPDL Servicearchitektur im Umfeld Forschungsdaten</vt:lpstr>
      <vt:lpstr> 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sterpräsentation neues Template  für Powerpoint 2010 (und 2007)</dc:title>
  <dc:creator>u g</dc:creator>
  <cp:lastModifiedBy>u g </cp:lastModifiedBy>
  <cp:revision>29</cp:revision>
  <cp:lastPrinted>2015-10-05T09:02:07Z</cp:lastPrinted>
  <dcterms:created xsi:type="dcterms:W3CDTF">2015-09-18T06:21:20Z</dcterms:created>
  <dcterms:modified xsi:type="dcterms:W3CDTF">2015-10-05T10:52:00Z</dcterms:modified>
</cp:coreProperties>
</file>